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552" r:id="rId2"/>
    <p:sldId id="401" r:id="rId3"/>
    <p:sldId id="515" r:id="rId4"/>
    <p:sldId id="554" r:id="rId5"/>
    <p:sldId id="553" r:id="rId6"/>
    <p:sldId id="555" r:id="rId7"/>
    <p:sldId id="556" r:id="rId8"/>
    <p:sldId id="557" r:id="rId9"/>
  </p:sldIdLst>
  <p:sldSz cx="11522075" cy="6480175"/>
  <p:notesSz cx="6724650" cy="9774238"/>
  <p:custShowLst>
    <p:custShow name="Произвольный показ 1" id="0">
      <p:sldLst/>
    </p:custShow>
  </p:custShowLst>
  <p:custDataLst>
    <p:tags r:id="rId12"/>
  </p:custDataLst>
  <p:defaultTextStyle>
    <a:defPPr>
      <a:defRPr lang="ru-RU"/>
    </a:defPPr>
    <a:lvl1pPr marL="0" algn="l" defTabSz="97539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695" algn="l" defTabSz="97539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390" algn="l" defTabSz="97539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086" algn="l" defTabSz="97539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781" algn="l" defTabSz="97539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476" algn="l" defTabSz="97539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171" algn="l" defTabSz="97539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3867" algn="l" defTabSz="97539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562" algn="l" defTabSz="97539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041">
          <p15:clr>
            <a:srgbClr val="A4A3A4"/>
          </p15:clr>
        </p15:guide>
        <p15:guide id="2" pos="3629" userDrawn="1">
          <p15:clr>
            <a:srgbClr val="A4A3A4"/>
          </p15:clr>
        </p15:guide>
        <p15:guide id="3" pos="635" userDrawn="1">
          <p15:clr>
            <a:srgbClr val="A4A3A4"/>
          </p15:clr>
        </p15:guide>
        <p15:guide id="4" pos="6713" userDrawn="1">
          <p15:clr>
            <a:srgbClr val="A4A3A4"/>
          </p15:clr>
        </p15:guide>
        <p15:guide id="5" orient="horz" pos="453" userDrawn="1">
          <p15:clr>
            <a:srgbClr val="A4A3A4"/>
          </p15:clr>
        </p15:guide>
        <p15:guide id="6" orient="horz" pos="3855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527F"/>
    <a:srgbClr val="836BA6"/>
    <a:srgbClr val="0432FF"/>
    <a:srgbClr val="006129"/>
    <a:srgbClr val="1499C8"/>
    <a:srgbClr val="048E63"/>
    <a:srgbClr val="836BA0"/>
    <a:srgbClr val="826A9F"/>
    <a:srgbClr val="0C96C7"/>
    <a:srgbClr val="7A67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54" autoAdjust="0"/>
    <p:restoredTop sz="92230" autoAdjust="0"/>
  </p:normalViewPr>
  <p:slideViewPr>
    <p:cSldViewPr>
      <p:cViewPr>
        <p:scale>
          <a:sx n="121" d="100"/>
          <a:sy n="121" d="100"/>
        </p:scale>
        <p:origin x="-972" y="-66"/>
      </p:cViewPr>
      <p:guideLst>
        <p:guide orient="horz" pos="2041"/>
        <p:guide orient="horz" pos="453"/>
        <p:guide orient="horz" pos="3855"/>
        <p:guide pos="3629"/>
        <p:guide pos="635"/>
        <p:guide pos="67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8850"/>
    </p:cViewPr>
  </p:sorterViewPr>
  <p:notesViewPr>
    <p:cSldViewPr>
      <p:cViewPr varScale="1">
        <p:scale>
          <a:sx n="67" d="100"/>
          <a:sy n="67" d="100"/>
        </p:scale>
        <p:origin x="3120" y="53"/>
      </p:cViewPr>
      <p:guideLst>
        <p:guide orient="horz" pos="3079"/>
        <p:guide pos="21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4014" cy="488713"/>
          </a:xfrm>
          <a:prstGeom prst="rect">
            <a:avLst/>
          </a:prstGeom>
        </p:spPr>
        <p:txBody>
          <a:bodyPr vert="horz" lIns="94265" tIns="47132" rIns="94265" bIns="47132" rtlCol="0"/>
          <a:lstStyle>
            <a:lvl1pPr algn="l">
              <a:defRPr sz="1300"/>
            </a:lvl1pPr>
          </a:lstStyle>
          <a:p>
            <a:endParaRPr lang="ru-RU" dirty="0">
              <a:latin typeface="IBM Plex Sans" panose="020B0503050203000203" pitchFamily="34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09079" y="0"/>
            <a:ext cx="2914014" cy="488713"/>
          </a:xfrm>
          <a:prstGeom prst="rect">
            <a:avLst/>
          </a:prstGeom>
        </p:spPr>
        <p:txBody>
          <a:bodyPr vert="horz" lIns="94265" tIns="47132" rIns="94265" bIns="47132" rtlCol="0"/>
          <a:lstStyle>
            <a:lvl1pPr algn="r">
              <a:defRPr sz="1300"/>
            </a:lvl1pPr>
          </a:lstStyle>
          <a:p>
            <a:fld id="{7877037E-B554-45A1-B940-962C234B5DC9}" type="datetimeFigureOut">
              <a:rPr lang="ru-RU" smtClean="0">
                <a:latin typeface="IBM Plex Sans" panose="020B0503050203000203" pitchFamily="34" charset="0"/>
              </a:rPr>
              <a:t>03.12.2018</a:t>
            </a:fld>
            <a:endParaRPr lang="ru-RU" dirty="0">
              <a:latin typeface="IBM Plex Sans" panose="020B0503050203000203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283831"/>
            <a:ext cx="2914014" cy="488713"/>
          </a:xfrm>
          <a:prstGeom prst="rect">
            <a:avLst/>
          </a:prstGeom>
        </p:spPr>
        <p:txBody>
          <a:bodyPr vert="horz" lIns="94265" tIns="47132" rIns="94265" bIns="47132" rtlCol="0" anchor="b"/>
          <a:lstStyle>
            <a:lvl1pPr algn="l">
              <a:defRPr sz="1300"/>
            </a:lvl1pPr>
          </a:lstStyle>
          <a:p>
            <a:endParaRPr lang="ru-RU" dirty="0">
              <a:latin typeface="IBM Plex Sans" panose="020B0503050203000203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09079" y="9283831"/>
            <a:ext cx="2914014" cy="488713"/>
          </a:xfrm>
          <a:prstGeom prst="rect">
            <a:avLst/>
          </a:prstGeom>
        </p:spPr>
        <p:txBody>
          <a:bodyPr vert="horz" lIns="94265" tIns="47132" rIns="94265" bIns="47132" rtlCol="0" anchor="b"/>
          <a:lstStyle>
            <a:lvl1pPr algn="r">
              <a:defRPr sz="1300"/>
            </a:lvl1pPr>
          </a:lstStyle>
          <a:p>
            <a:fld id="{E9C20A97-E1CC-45C0-B6F1-2D03ACD7486C}" type="slidenum">
              <a:rPr lang="ru-RU" smtClean="0">
                <a:latin typeface="IBM Plex Sans" panose="020B0503050203000203" pitchFamily="34" charset="0"/>
              </a:rPr>
              <a:t>‹#›</a:t>
            </a:fld>
            <a:endParaRPr lang="ru-RU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6577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4014" cy="488713"/>
          </a:xfrm>
          <a:prstGeom prst="rect">
            <a:avLst/>
          </a:prstGeom>
        </p:spPr>
        <p:txBody>
          <a:bodyPr vert="horz" lIns="94265" tIns="47132" rIns="94265" bIns="47132" rtlCol="0"/>
          <a:lstStyle>
            <a:lvl1pPr algn="l">
              <a:defRPr sz="1300" b="0" i="0">
                <a:latin typeface="IBM Plex Sans" panose="020B0503050203000203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4" cy="488713"/>
          </a:xfrm>
          <a:prstGeom prst="rect">
            <a:avLst/>
          </a:prstGeom>
        </p:spPr>
        <p:txBody>
          <a:bodyPr vert="horz" lIns="94265" tIns="47132" rIns="94265" bIns="47132" rtlCol="0"/>
          <a:lstStyle>
            <a:lvl1pPr algn="r">
              <a:defRPr sz="1300" b="0" i="0">
                <a:latin typeface="IBM Plex Sans" panose="020B0503050203000203" pitchFamily="34" charset="0"/>
              </a:defRPr>
            </a:lvl1pPr>
          </a:lstStyle>
          <a:p>
            <a:fld id="{D30C2D4A-1551-4C90-B0C9-8841516483E9}" type="datetimeFigureOut">
              <a:rPr lang="ru-RU" smtClean="0"/>
              <a:pPr/>
              <a:t>03.12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33425"/>
            <a:ext cx="6518275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65" tIns="47132" rIns="94265" bIns="4713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2465" y="4642763"/>
            <a:ext cx="5379720" cy="4398407"/>
          </a:xfrm>
          <a:prstGeom prst="rect">
            <a:avLst/>
          </a:prstGeom>
        </p:spPr>
        <p:txBody>
          <a:bodyPr vert="horz" lIns="94265" tIns="47132" rIns="94265" bIns="47132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283831"/>
            <a:ext cx="2914014" cy="488713"/>
          </a:xfrm>
          <a:prstGeom prst="rect">
            <a:avLst/>
          </a:prstGeom>
        </p:spPr>
        <p:txBody>
          <a:bodyPr vert="horz" lIns="94265" tIns="47132" rIns="94265" bIns="47132" rtlCol="0" anchor="b"/>
          <a:lstStyle>
            <a:lvl1pPr algn="l">
              <a:defRPr sz="1300" b="0" i="0">
                <a:latin typeface="IBM Plex Sans" panose="020B0503050203000203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09079" y="9283831"/>
            <a:ext cx="2914014" cy="488713"/>
          </a:xfrm>
          <a:prstGeom prst="rect">
            <a:avLst/>
          </a:prstGeom>
        </p:spPr>
        <p:txBody>
          <a:bodyPr vert="horz" lIns="94265" tIns="47132" rIns="94265" bIns="47132" rtlCol="0" anchor="b"/>
          <a:lstStyle>
            <a:lvl1pPr algn="r">
              <a:defRPr sz="1300" b="0" i="0">
                <a:latin typeface="IBM Plex Sans" panose="020B0503050203000203" pitchFamily="34" charset="0"/>
              </a:defRPr>
            </a:lvl1pPr>
          </a:lstStyle>
          <a:p>
            <a:fld id="{98D5FF8E-90A7-46A0-A645-3F7A3C72C4D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5356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390" rtl="0" eaLnBrk="1" latinLnBrk="0" hangingPunct="1">
      <a:defRPr sz="1300" b="0" i="0" kern="1200">
        <a:solidFill>
          <a:schemeClr val="tx1"/>
        </a:solidFill>
        <a:latin typeface="IBM Plex Sans" panose="020B0503050203000203" pitchFamily="34" charset="0"/>
        <a:ea typeface="+mn-ea"/>
        <a:cs typeface="+mn-cs"/>
      </a:defRPr>
    </a:lvl1pPr>
    <a:lvl2pPr marL="487695" algn="l" defTabSz="975390" rtl="0" eaLnBrk="1" latinLnBrk="0" hangingPunct="1">
      <a:defRPr sz="1300" b="0" i="0" kern="1200">
        <a:solidFill>
          <a:schemeClr val="tx1"/>
        </a:solidFill>
        <a:latin typeface="IBM Plex Sans" panose="020B0503050203000203" pitchFamily="34" charset="0"/>
        <a:ea typeface="+mn-ea"/>
        <a:cs typeface="+mn-cs"/>
      </a:defRPr>
    </a:lvl2pPr>
    <a:lvl3pPr marL="975390" algn="l" defTabSz="975390" rtl="0" eaLnBrk="1" latinLnBrk="0" hangingPunct="1">
      <a:defRPr sz="1300" b="0" i="0" kern="1200">
        <a:solidFill>
          <a:schemeClr val="tx1"/>
        </a:solidFill>
        <a:latin typeface="IBM Plex Sans" panose="020B0503050203000203" pitchFamily="34" charset="0"/>
        <a:ea typeface="+mn-ea"/>
        <a:cs typeface="+mn-cs"/>
      </a:defRPr>
    </a:lvl3pPr>
    <a:lvl4pPr marL="1463086" algn="l" defTabSz="975390" rtl="0" eaLnBrk="1" latinLnBrk="0" hangingPunct="1">
      <a:defRPr sz="1300" b="0" i="0" kern="1200">
        <a:solidFill>
          <a:schemeClr val="tx1"/>
        </a:solidFill>
        <a:latin typeface="IBM Plex Sans" panose="020B0503050203000203" pitchFamily="34" charset="0"/>
        <a:ea typeface="+mn-ea"/>
        <a:cs typeface="+mn-cs"/>
      </a:defRPr>
    </a:lvl4pPr>
    <a:lvl5pPr marL="1950781" algn="l" defTabSz="975390" rtl="0" eaLnBrk="1" latinLnBrk="0" hangingPunct="1">
      <a:defRPr sz="1300" b="0" i="0" kern="1200">
        <a:solidFill>
          <a:schemeClr val="tx1"/>
        </a:solidFill>
        <a:latin typeface="IBM Plex Sans" panose="020B0503050203000203" pitchFamily="34" charset="0"/>
        <a:ea typeface="+mn-ea"/>
        <a:cs typeface="+mn-cs"/>
      </a:defRPr>
    </a:lvl5pPr>
    <a:lvl6pPr marL="2438476" algn="l" defTabSz="9753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171" algn="l" defTabSz="9753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3867" algn="l" defTabSz="9753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562" algn="l" defTabSz="9753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64156" y="2013055"/>
            <a:ext cx="9793764" cy="13890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" panose="020B050305020300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28312" y="3672100"/>
            <a:ext cx="8065453" cy="165604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>
                <a:solidFill>
                  <a:schemeClr val="tx1">
                    <a:tint val="75000"/>
                  </a:schemeClr>
                </a:solidFill>
                <a:latin typeface="IBM Plex Sans" panose="020B0503050203000203" pitchFamily="34" charset="0"/>
              </a:defRPr>
            </a:lvl1pPr>
            <a:lvl2pPr marL="487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3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5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76104" y="6006163"/>
            <a:ext cx="2688484" cy="34500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" panose="020B0503050203000203" pitchFamily="34" charset="0"/>
              </a:defRPr>
            </a:lvl1pPr>
          </a:lstStyle>
          <a:p>
            <a:fld id="{3E699AD7-70EF-4AEC-8559-DEB658870D84}" type="datetimeFigureOut">
              <a:rPr lang="ru-RU" smtClean="0"/>
              <a:pPr/>
              <a:t>03.12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936709" y="6006163"/>
            <a:ext cx="3648658" cy="34500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" panose="020B0503050203000203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C2315-DB11-48DC-8AB8-7DFFFA2123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49439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ОРГСТРУКТУРА ВПЕРЕ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hlinkClick r:id="" action="ppaction://hlinkshowjump?jump=firstslide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7" name="Прямоугольник с двумя скругленными соседними углами 6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8" name="Скругленный прямоугольник 7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0" name="Прямая соединительная линия 9">
              <a:hlinkClick r:id="" action="ppaction://hlinkshowjump?jump=firstslide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hlinkClick r:id="" action="ppaction://hlinkshowjump?jump=firstslide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Скругленный прямоугольник 11">
            <a:hlinkClick r:id="" action="ppaction://hlinkshowjump?jump=previousslide"/>
          </p:cNvPr>
          <p:cNvSpPr/>
          <p:nvPr userDrawn="1"/>
        </p:nvSpPr>
        <p:spPr>
          <a:xfrm>
            <a:off x="3642894" y="313515"/>
            <a:ext cx="1876020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r>
              <a:rPr lang="ru-RU" sz="13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кущая структура</a:t>
            </a:r>
            <a:endParaRPr lang="ru-RU" sz="1300" b="0" i="0" dirty="0">
              <a:solidFill>
                <a:schemeClr val="tx1">
                  <a:lumMod val="75000"/>
                  <a:lumOff val="2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3" name="Скругленный прямоугольник 12"/>
          <p:cNvSpPr/>
          <p:nvPr userDrawn="1"/>
        </p:nvSpPr>
        <p:spPr>
          <a:xfrm>
            <a:off x="6009623" y="313515"/>
            <a:ext cx="2487717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r>
              <a:rPr lang="ru-RU" sz="1300" b="0" i="0" dirty="0">
                <a:solidFill>
                  <a:schemeClr val="tx2">
                    <a:lumMod val="60000"/>
                    <a:lumOff val="40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лагаемая структура</a:t>
            </a:r>
            <a:endParaRPr lang="ru-RU" sz="1300" b="0" i="0" dirty="0">
              <a:solidFill>
                <a:schemeClr val="tx2">
                  <a:lumMod val="60000"/>
                  <a:lumOff val="40000"/>
                </a:schemeClr>
              </a:solidFill>
              <a:latin typeface="IBM Plex Sans" panose="020B0503050203000203" pitchFamily="34" charset="0"/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515092" y="403115"/>
            <a:ext cx="494532" cy="242865"/>
            <a:chOff x="4748273" y="314995"/>
            <a:chExt cx="586390" cy="288032"/>
          </a:xfrm>
        </p:grpSpPr>
        <p:sp>
          <p:nvSpPr>
            <p:cNvPr id="15" name="Скругленный прямоугольник 14">
              <a:hlinkClick r:id="" action="ppaction://hlinkshowjump?jump=previousslide"/>
            </p:cNvPr>
            <p:cNvSpPr/>
            <p:nvPr userDrawn="1"/>
          </p:nvSpPr>
          <p:spPr>
            <a:xfrm>
              <a:off x="4748273" y="314995"/>
              <a:ext cx="586390" cy="288032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  <p:sp>
          <p:nvSpPr>
            <p:cNvPr id="16" name="Овал 15">
              <a:hlinkClick r:id="" action="ppaction://hlinkshowjump?jump=previousslide"/>
            </p:cNvPr>
            <p:cNvSpPr/>
            <p:nvPr userDrawn="1"/>
          </p:nvSpPr>
          <p:spPr>
            <a:xfrm>
              <a:off x="5063526" y="337448"/>
              <a:ext cx="243126" cy="24312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5400000" sx="85000" sy="85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96225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БАНКИ ДЛЯ КПЭ НАЗА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hlinkClick r:id="" action="ppaction://noaction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7" name="Прямоугольник с двумя скругленными соседними углами 6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8" name="Скругленный прямоугольник 7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0" name="Прямая соединительная линия 9">
              <a:hlinkClick r:id="" action="ppaction://noaction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hlinkClick r:id="" action="ppaction://noaction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Скругленный прямоугольник 11">
            <a:hlinkClick r:id="" action="ppaction://hlinkshowjump?jump=previousslide"/>
          </p:cNvPr>
          <p:cNvSpPr/>
          <p:nvPr userDrawn="1"/>
        </p:nvSpPr>
        <p:spPr>
          <a:xfrm>
            <a:off x="3642894" y="313515"/>
            <a:ext cx="1876020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r>
              <a:rPr lang="ru-RU" sz="13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кущая структура</a:t>
            </a:r>
            <a:endParaRPr lang="ru-RU" sz="1300" b="0" i="0" dirty="0">
              <a:solidFill>
                <a:schemeClr val="tx1">
                  <a:lumMod val="75000"/>
                  <a:lumOff val="2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3" name="Скругленный прямоугольник 12"/>
          <p:cNvSpPr/>
          <p:nvPr userDrawn="1"/>
        </p:nvSpPr>
        <p:spPr>
          <a:xfrm>
            <a:off x="6009623" y="313515"/>
            <a:ext cx="2487717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r>
              <a:rPr lang="ru-RU" sz="1300" b="0" i="0" dirty="0">
                <a:solidFill>
                  <a:schemeClr val="tx2">
                    <a:lumMod val="60000"/>
                    <a:lumOff val="40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лагаемая структура</a:t>
            </a:r>
            <a:endParaRPr lang="ru-RU" sz="1300" b="0" i="0" dirty="0">
              <a:solidFill>
                <a:schemeClr val="tx2">
                  <a:lumMod val="60000"/>
                  <a:lumOff val="40000"/>
                </a:schemeClr>
              </a:solidFill>
              <a:latin typeface="IBM Plex Sans" panose="020B0503050203000203" pitchFamily="34" charset="0"/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515092" y="403115"/>
            <a:ext cx="494532" cy="242865"/>
            <a:chOff x="4748273" y="314995"/>
            <a:chExt cx="586390" cy="288032"/>
          </a:xfrm>
        </p:grpSpPr>
        <p:sp>
          <p:nvSpPr>
            <p:cNvPr id="15" name="Скругленный прямоугольник 14">
              <a:hlinkClick r:id="" action="ppaction://hlinkshowjump?jump=previousslide"/>
            </p:cNvPr>
            <p:cNvSpPr/>
            <p:nvPr userDrawn="1"/>
          </p:nvSpPr>
          <p:spPr>
            <a:xfrm>
              <a:off x="4748273" y="314995"/>
              <a:ext cx="586390" cy="288032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  <p:sp>
          <p:nvSpPr>
            <p:cNvPr id="16" name="Овал 15">
              <a:hlinkClick r:id="" action="ppaction://hlinkshowjump?jump=previousslide"/>
            </p:cNvPr>
            <p:cNvSpPr/>
            <p:nvPr userDrawn="1"/>
          </p:nvSpPr>
          <p:spPr>
            <a:xfrm>
              <a:off x="5063526" y="337448"/>
              <a:ext cx="243126" cy="24312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5400000" sx="85000" sy="85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2023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КПЭ ОБЩИЙ Ю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hlinkClick r:id="" action="ppaction://hlinkshowjump?jump=firstslide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7" name="Прямоугольник с двумя скругленными соседними углами 6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8" name="Скругленный прямоугольник 7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0" name="Прямая соединительная линия 9">
              <a:hlinkClick r:id="" action="ppaction://hlinkshowjump?jump=firstslide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hlinkClick r:id="" action="ppaction://hlinkshowjump?jump=firstslide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53676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возврат на инициатив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hlinkClick r:id="" action="ppaction://noaction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7" name="Прямоугольник с двумя скругленными соседними углами 6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8" name="Скругленный прямоугольник 7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0" name="Прямая соединительная линия 9">
              <a:hlinkClick r:id="" action="ppaction://noaction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hlinkClick r:id="" action="ppaction://noaction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881743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модель управления численност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hlinkClick r:id="" action="ppaction://hlinkshowjump?jump=firstslide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7" name="Прямоугольник с двумя скругленными соседними углами 6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8" name="Скругленный прямоугольник 7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0" name="Прямая соединительная линия 9">
              <a:hlinkClick r:id="" action="ppaction://hlinkshowjump?jump=firstslide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hlinkClick r:id="" action="ppaction://hlinkshowjump?jump=firstslide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841401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Модель с учетом инициати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>
            <a:hlinkClick r:id="" action="ppaction://noaction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13" name="Скругленный прямоугольник 12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14" name="Прямоугольник с двумя скругленными соседними углами 13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15" name="Скругленный прямоугольник 14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7" name="Прямая соединительная линия 16">
              <a:hlinkClick r:id="" action="ppaction://noaction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hlinkClick r:id="" action="ppaction://noaction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Скругленный прямоугольник 18">
            <a:hlinkClick r:id="" action="ppaction://hlinkshowjump?jump=previousslide"/>
          </p:cNvPr>
          <p:cNvSpPr/>
          <p:nvPr userDrawn="1"/>
        </p:nvSpPr>
        <p:spPr>
          <a:xfrm>
            <a:off x="3374204" y="313515"/>
            <a:ext cx="2144710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r"/>
            <a:r>
              <a:rPr lang="ru-RU" sz="13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з учета инициатив</a:t>
            </a:r>
            <a:endParaRPr lang="ru-RU" sz="1300" b="0" i="0" dirty="0">
              <a:solidFill>
                <a:schemeClr val="tx1">
                  <a:lumMod val="85000"/>
                  <a:lumOff val="1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20" name="Скругленный прямоугольник 19"/>
          <p:cNvSpPr/>
          <p:nvPr userDrawn="1"/>
        </p:nvSpPr>
        <p:spPr>
          <a:xfrm>
            <a:off x="6009624" y="313515"/>
            <a:ext cx="2138246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l"/>
            <a:r>
              <a:rPr lang="ru-RU" sz="1300" b="0" i="0" dirty="0">
                <a:solidFill>
                  <a:schemeClr val="tx2">
                    <a:lumMod val="60000"/>
                    <a:lumOff val="40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учетом инициатив</a:t>
            </a:r>
            <a:endParaRPr lang="ru-RU" sz="1300" b="0" i="0" dirty="0">
              <a:solidFill>
                <a:schemeClr val="tx2">
                  <a:lumMod val="60000"/>
                  <a:lumOff val="40000"/>
                </a:schemeClr>
              </a:solidFill>
              <a:latin typeface="IBM Plex Sans" panose="020B0503050203000203" pitchFamily="34" charset="0"/>
            </a:endParaRPr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5515092" y="403115"/>
            <a:ext cx="494532" cy="242865"/>
            <a:chOff x="4748273" y="314995"/>
            <a:chExt cx="586390" cy="288032"/>
          </a:xfrm>
        </p:grpSpPr>
        <p:sp>
          <p:nvSpPr>
            <p:cNvPr id="22" name="Скругленный прямоугольник 21">
              <a:hlinkClick r:id="" action="ppaction://hlinkshowjump?jump=previousslide"/>
            </p:cNvPr>
            <p:cNvSpPr/>
            <p:nvPr userDrawn="1"/>
          </p:nvSpPr>
          <p:spPr>
            <a:xfrm>
              <a:off x="4748273" y="314995"/>
              <a:ext cx="586390" cy="288032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  <p:sp>
          <p:nvSpPr>
            <p:cNvPr id="23" name="Овал 22">
              <a:hlinkClick r:id="" action="ppaction://hlinkshowjump?jump=previousslide"/>
            </p:cNvPr>
            <p:cNvSpPr/>
            <p:nvPr userDrawn="1"/>
          </p:nvSpPr>
          <p:spPr>
            <a:xfrm>
              <a:off x="5062091" y="337448"/>
              <a:ext cx="243126" cy="24312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5400000" sx="85000" sy="85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62397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Модель реально с учетом инициати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>
            <a:hlinkClick r:id="" action="ppaction://noaction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13" name="Скругленный прямоугольник 12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14" name="Прямоугольник с двумя скругленными соседними углами 13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15" name="Скругленный прямоугольник 14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7" name="Прямая соединительная линия 16">
              <a:hlinkClick r:id="" action="ppaction://noaction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hlinkClick r:id="" action="ppaction://noaction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Скругленный прямоугольник 18"/>
          <p:cNvSpPr/>
          <p:nvPr userDrawn="1"/>
        </p:nvSpPr>
        <p:spPr>
          <a:xfrm>
            <a:off x="3374204" y="313515"/>
            <a:ext cx="2144710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r"/>
            <a:r>
              <a:rPr lang="ru-RU" sz="13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з учета инициатив</a:t>
            </a:r>
            <a:endParaRPr lang="ru-RU" sz="1300" b="0" i="0" dirty="0">
              <a:solidFill>
                <a:schemeClr val="tx1">
                  <a:lumMod val="75000"/>
                  <a:lumOff val="2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20" name="Скругленный прямоугольник 19">
            <a:hlinkClick r:id="" action="ppaction://hlinkshowjump?jump=nextslide"/>
          </p:cNvPr>
          <p:cNvSpPr/>
          <p:nvPr userDrawn="1"/>
        </p:nvSpPr>
        <p:spPr>
          <a:xfrm>
            <a:off x="6009624" y="313515"/>
            <a:ext cx="2138246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l"/>
            <a:r>
              <a:rPr lang="ru-RU" sz="1300" b="0" i="0" dirty="0">
                <a:solidFill>
                  <a:schemeClr val="tx2">
                    <a:lumMod val="60000"/>
                    <a:lumOff val="40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учетом инициатив</a:t>
            </a:r>
            <a:endParaRPr lang="ru-RU" sz="1300" b="0" i="0" dirty="0">
              <a:solidFill>
                <a:schemeClr val="tx2">
                  <a:lumMod val="60000"/>
                  <a:lumOff val="40000"/>
                </a:schemeClr>
              </a:solidFill>
              <a:latin typeface="IBM Plex Sans" panose="020B0503050203000203" pitchFamily="34" charset="0"/>
            </a:endParaRPr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5515092" y="403115"/>
            <a:ext cx="494532" cy="242865"/>
            <a:chOff x="4748273" y="314995"/>
            <a:chExt cx="586390" cy="288032"/>
          </a:xfrm>
        </p:grpSpPr>
        <p:sp>
          <p:nvSpPr>
            <p:cNvPr id="22" name="Скругленный прямоугольник 21">
              <a:hlinkClick r:id="" action="ppaction://hlinkshowjump?jump=nextslide"/>
            </p:cNvPr>
            <p:cNvSpPr/>
            <p:nvPr userDrawn="1"/>
          </p:nvSpPr>
          <p:spPr>
            <a:xfrm>
              <a:off x="4748273" y="314995"/>
              <a:ext cx="586390" cy="28803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  <p:sp>
          <p:nvSpPr>
            <p:cNvPr id="23" name="Овал 22">
              <a:hlinkClick r:id="" action="ppaction://hlinkshowjump?jump=nextslide"/>
            </p:cNvPr>
            <p:cNvSpPr/>
            <p:nvPr userDrawn="1"/>
          </p:nvSpPr>
          <p:spPr>
            <a:xfrm>
              <a:off x="4776911" y="337448"/>
              <a:ext cx="243126" cy="24312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5400000" sx="85000" sy="85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9195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КПЭ возврат на общ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hlinkClick r:id="" action="ppaction://noaction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8" name="Скругленный прямоугольник 7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0" name="Прямая соединительная линия 9">
              <a:hlinkClick r:id="" action="ppaction://noaction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hlinkClick r:id="" action="ppaction://noaction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32470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РЕГДИР впере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hlinkClick r:id="" action="ppaction://noaction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8" name="Скругленный прямоугольник 7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0" name="Прямая соединительная линия 9">
              <a:hlinkClick r:id="" action="ppaction://noaction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hlinkClick r:id="" action="ppaction://noaction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Прямоугольник с двумя скругленными соседними углами 11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13" name="Скругленный прямоугольник 12"/>
          <p:cNvSpPr/>
          <p:nvPr userDrawn="1"/>
        </p:nvSpPr>
        <p:spPr>
          <a:xfrm>
            <a:off x="1368549" y="313515"/>
            <a:ext cx="4150365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r"/>
            <a:r>
              <a:rPr lang="ru-RU" sz="13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ональный</a:t>
            </a:r>
            <a:r>
              <a:rPr lang="ru-RU" sz="1300" b="0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директор не требуется</a:t>
            </a:r>
            <a:endParaRPr lang="ru-RU" sz="1300" b="0" i="0" dirty="0">
              <a:solidFill>
                <a:schemeClr val="tx1">
                  <a:lumMod val="75000"/>
                  <a:lumOff val="2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4" name="Скругленный прямоугольник 13">
            <a:hlinkClick r:id="" action="ppaction://hlinkshowjump?jump=nextslide"/>
          </p:cNvPr>
          <p:cNvSpPr/>
          <p:nvPr userDrawn="1"/>
        </p:nvSpPr>
        <p:spPr>
          <a:xfrm>
            <a:off x="6121077" y="313515"/>
            <a:ext cx="4320480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l"/>
            <a:r>
              <a:rPr lang="ru-RU" sz="13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водится должность регионального директора</a:t>
            </a: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5515092" y="403115"/>
            <a:ext cx="494532" cy="242865"/>
            <a:chOff x="4748273" y="314995"/>
            <a:chExt cx="586390" cy="288032"/>
          </a:xfrm>
        </p:grpSpPr>
        <p:sp>
          <p:nvSpPr>
            <p:cNvPr id="16" name="Скругленный прямоугольник 15">
              <a:hlinkClick r:id="" action="ppaction://hlinkshowjump?jump=nextslide"/>
            </p:cNvPr>
            <p:cNvSpPr/>
            <p:nvPr userDrawn="1"/>
          </p:nvSpPr>
          <p:spPr>
            <a:xfrm>
              <a:off x="4748273" y="314995"/>
              <a:ext cx="586390" cy="28803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  <p:sp>
          <p:nvSpPr>
            <p:cNvPr id="17" name="Овал 16">
              <a:hlinkClick r:id="" action="ppaction://hlinkshowjump?jump=nextslide"/>
            </p:cNvPr>
            <p:cNvSpPr/>
            <p:nvPr userDrawn="1"/>
          </p:nvSpPr>
          <p:spPr>
            <a:xfrm>
              <a:off x="4776911" y="337448"/>
              <a:ext cx="243126" cy="24312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5400000" sx="85000" sy="85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7190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РЕГДИР впере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hlinkClick r:id="" action="ppaction://noaction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8" name="Скругленный прямоугольник 7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0" name="Прямая соединительная линия 9">
              <a:hlinkClick r:id="" action="ppaction://noaction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hlinkClick r:id="" action="ppaction://noaction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Прямоугольник с двумя скругленными соседними углами 11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13" name="Скругленный прямоугольник 12"/>
          <p:cNvSpPr/>
          <p:nvPr userDrawn="1"/>
        </p:nvSpPr>
        <p:spPr>
          <a:xfrm>
            <a:off x="1368549" y="313515"/>
            <a:ext cx="4150365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r"/>
            <a:r>
              <a:rPr lang="ru-RU" sz="13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ональный</a:t>
            </a:r>
            <a:r>
              <a:rPr lang="ru-RU" sz="1300" b="0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директор не требуется</a:t>
            </a:r>
            <a:endParaRPr lang="ru-RU" sz="1300" b="0" i="0" dirty="0">
              <a:solidFill>
                <a:schemeClr val="tx1">
                  <a:lumMod val="75000"/>
                  <a:lumOff val="2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4" name="Скругленный прямоугольник 13">
            <a:hlinkClick r:id="" action="ppaction://hlinkshowjump?jump=nextslide"/>
          </p:cNvPr>
          <p:cNvSpPr/>
          <p:nvPr userDrawn="1"/>
        </p:nvSpPr>
        <p:spPr>
          <a:xfrm>
            <a:off x="6121077" y="313515"/>
            <a:ext cx="4536504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l"/>
            <a:r>
              <a:rPr lang="ru-RU" sz="13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водится должность регионального директора</a:t>
            </a:r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5515092" y="403115"/>
            <a:ext cx="494532" cy="242865"/>
            <a:chOff x="4748273" y="314995"/>
            <a:chExt cx="586390" cy="288032"/>
          </a:xfrm>
        </p:grpSpPr>
        <p:sp>
          <p:nvSpPr>
            <p:cNvPr id="20" name="Скругленный прямоугольник 19">
              <a:hlinkClick r:id="" action="ppaction://hlinkshowjump?jump=previousslide"/>
            </p:cNvPr>
            <p:cNvSpPr/>
            <p:nvPr userDrawn="1"/>
          </p:nvSpPr>
          <p:spPr>
            <a:xfrm>
              <a:off x="4748273" y="314995"/>
              <a:ext cx="586390" cy="288032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  <p:sp>
          <p:nvSpPr>
            <p:cNvPr id="21" name="Овал 20">
              <a:hlinkClick r:id="" action="ppaction://hlinkshowjump?jump=previousslide"/>
            </p:cNvPr>
            <p:cNvSpPr/>
            <p:nvPr userDrawn="1"/>
          </p:nvSpPr>
          <p:spPr>
            <a:xfrm>
              <a:off x="5063526" y="337448"/>
              <a:ext cx="243126" cy="24312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5400000" sx="85000" sy="85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5495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 userDrawn="1"/>
        </p:nvSpPr>
        <p:spPr>
          <a:xfrm>
            <a:off x="1" y="503783"/>
            <a:ext cx="648468" cy="5976392"/>
          </a:xfrm>
          <a:prstGeom prst="rect">
            <a:avLst/>
          </a:prstGeom>
          <a:solidFill>
            <a:srgbClr val="03A678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1" y="503782"/>
            <a:ext cx="11522073" cy="5976393"/>
          </a:xfrm>
          <a:prstGeom prst="rect">
            <a:avLst/>
          </a:prstGeom>
          <a:blipFill dpi="0" rotWithShape="1">
            <a:blip r:embed="rId2">
              <a:alphaModFix amt="9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 b="-1352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" y="0"/>
            <a:ext cx="11522074" cy="50378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65100" dist="63500" dir="5400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3480474" y="79534"/>
            <a:ext cx="4765542" cy="344714"/>
          </a:xfrm>
          <a:prstGeom prst="rect">
            <a:avLst/>
          </a:prstGeom>
          <a:noFill/>
        </p:spPr>
        <p:txBody>
          <a:bodyPr wrap="none" lIns="97539" tIns="48770" rIns="97539" bIns="48770" rtlCol="0">
            <a:spAutoFit/>
          </a:bodyPr>
          <a:lstStyle/>
          <a:p>
            <a:pPr algn="ctr"/>
            <a:r>
              <a:rPr lang="ru-RU" sz="16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МЕНЕНИЯ ОРГАНИЗАЦИОННОЙ СТРУКТУРЫ</a:t>
            </a:r>
          </a:p>
        </p:txBody>
      </p:sp>
    </p:spTree>
    <p:extLst>
      <p:ext uri="{BB962C8B-B14F-4D97-AF65-F5344CB8AC3E}">
        <p14:creationId xmlns:p14="http://schemas.microsoft.com/office/powerpoint/2010/main" val="2352860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 userDrawn="1"/>
        </p:nvSpPr>
        <p:spPr>
          <a:xfrm>
            <a:off x="0" y="0"/>
            <a:ext cx="695325" cy="64801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-14543" y="0"/>
            <a:ext cx="11536617" cy="6480176"/>
          </a:xfrm>
          <a:prstGeom prst="rect">
            <a:avLst/>
          </a:prstGeom>
          <a:blipFill dpi="0" rotWithShape="1">
            <a:blip r:embed="rId2">
              <a:alphaModFix amt="9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 b="-1352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" y="0"/>
            <a:ext cx="11522074" cy="71871"/>
          </a:xfrm>
          <a:prstGeom prst="rect">
            <a:avLst/>
          </a:prstGeom>
          <a:gradFill flip="none" rotWithShape="1">
            <a:gsLst>
              <a:gs pos="0">
                <a:srgbClr val="1C9E94"/>
              </a:gs>
              <a:gs pos="100000">
                <a:srgbClr val="03A678"/>
              </a:gs>
            </a:gsLst>
            <a:lin ang="0" scaled="1"/>
            <a:tileRect/>
          </a:gradFill>
          <a:ln>
            <a:noFill/>
          </a:ln>
          <a:effectLst>
            <a:outerShdw blurRad="101600" dist="38100" dir="5400000" algn="t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1" y="6415734"/>
            <a:ext cx="11522073" cy="64441"/>
          </a:xfrm>
          <a:prstGeom prst="rect">
            <a:avLst/>
          </a:prstGeom>
          <a:gradFill flip="none" rotWithShape="1">
            <a:gsLst>
              <a:gs pos="0">
                <a:srgbClr val="1C9E94"/>
              </a:gs>
              <a:gs pos="100000">
                <a:srgbClr val="03A678"/>
              </a:gs>
            </a:gsLst>
            <a:lin ang="0" scaled="1"/>
            <a:tileRect/>
          </a:gradFill>
          <a:ln>
            <a:noFill/>
          </a:ln>
          <a:effectLst>
            <a:outerShdw blurRad="101600" dist="38100" dir="16200000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480473" y="215751"/>
            <a:ext cx="4765542" cy="344714"/>
          </a:xfrm>
          <a:prstGeom prst="rect">
            <a:avLst/>
          </a:prstGeom>
          <a:noFill/>
        </p:spPr>
        <p:txBody>
          <a:bodyPr wrap="none" lIns="97539" tIns="48770" rIns="97539" bIns="48770" rtlCol="0">
            <a:spAutoFit/>
          </a:bodyPr>
          <a:lstStyle/>
          <a:p>
            <a:pPr algn="ctr"/>
            <a:r>
              <a:rPr lang="ru-RU" sz="1600" b="0" i="0" dirty="0">
                <a:gradFill>
                  <a:gsLst>
                    <a:gs pos="0">
                      <a:srgbClr val="1C9E94"/>
                    </a:gs>
                    <a:gs pos="100000">
                      <a:srgbClr val="03A678"/>
                    </a:gs>
                  </a:gsLst>
                  <a:lin ang="0" scaled="1"/>
                </a:gra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МЕНЕНИЯ ОРГАНИЗАЦИОННОЙ СТРУКТУРЫ</a:t>
            </a:r>
          </a:p>
        </p:txBody>
      </p:sp>
    </p:spTree>
    <p:extLst>
      <p:ext uri="{BB962C8B-B14F-4D97-AF65-F5344CB8AC3E}">
        <p14:creationId xmlns:p14="http://schemas.microsoft.com/office/powerpoint/2010/main" val="19467314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3300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1"/>
            <a:ext cx="11522076" cy="6480174"/>
          </a:xfrm>
          <a:prstGeom prst="rect">
            <a:avLst/>
          </a:prstGeom>
          <a:blipFill dpi="0" rotWithShape="1">
            <a:blip r:embed="rId2">
              <a:alphaModFix amt="72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 t="1" r="-1246" b="-445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-1" y="0"/>
            <a:ext cx="11522076" cy="6480175"/>
          </a:xfrm>
          <a:prstGeom prst="rect">
            <a:avLst/>
          </a:prstGeom>
          <a:solidFill>
            <a:srgbClr val="03A678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416795" y="143743"/>
            <a:ext cx="2688484" cy="345009"/>
          </a:xfrm>
          <a:prstGeom prst="rect">
            <a:avLst/>
          </a:prstGeom>
        </p:spPr>
        <p:txBody>
          <a:bodyPr vert="horz" lIns="97539" tIns="48770" rIns="97539" bIns="48770" rtlCol="0" anchor="ctr"/>
          <a:lstStyle>
            <a:lvl1pPr algn="ctr">
              <a:defRPr sz="1000">
                <a:solidFill>
                  <a:schemeClr val="bg1">
                    <a:lumMod val="95000"/>
                  </a:schemeClr>
                </a:solidFill>
                <a:latin typeface="Segoe UI Light" panose="020B0502040204020203" pitchFamily="34" charset="0"/>
              </a:defRPr>
            </a:lvl1pPr>
          </a:lstStyle>
          <a:p>
            <a:r>
              <a:rPr lang="ru-RU" dirty="0">
                <a:latin typeface="IBM Plex Sans" panose="020B0503050203000203" pitchFamily="34" charset="0"/>
              </a:rPr>
              <a:t>Вопрос </a:t>
            </a:r>
            <a:fld id="{077C2315-DB11-48DC-8AB8-7DFFFA212395}" type="slidenum">
              <a:rPr lang="ru-RU" smtClean="0">
                <a:latin typeface="IBM Plex Sans" panose="020B0503050203000203" pitchFamily="34" charset="0"/>
              </a:rPr>
              <a:pPr/>
              <a:t>‹#›</a:t>
            </a:fld>
            <a:r>
              <a:rPr lang="ru-RU" dirty="0">
                <a:latin typeface="IBM Plex Sans" panose="020B0503050203000203" pitchFamily="34" charset="0"/>
              </a:rPr>
              <a:t> из 85</a:t>
            </a:r>
          </a:p>
        </p:txBody>
      </p:sp>
    </p:spTree>
    <p:extLst>
      <p:ext uri="{BB962C8B-B14F-4D97-AF65-F5344CB8AC3E}">
        <p14:creationId xmlns:p14="http://schemas.microsoft.com/office/powerpoint/2010/main" val="3655748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1"/>
            <a:ext cx="11522076" cy="6480174"/>
          </a:xfrm>
          <a:prstGeom prst="rect">
            <a:avLst/>
          </a:prstGeom>
          <a:blipFill dpi="0" rotWithShape="1">
            <a:blip r:embed="rId2">
              <a:alphaModFix amt="72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 t="1" r="-1246" b="-445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-1" y="0"/>
            <a:ext cx="11522076" cy="6480175"/>
          </a:xfrm>
          <a:prstGeom prst="rect">
            <a:avLst/>
          </a:prstGeom>
          <a:solidFill>
            <a:schemeClr val="accent4">
              <a:alpha val="8666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416795" y="143743"/>
            <a:ext cx="2688484" cy="345009"/>
          </a:xfrm>
          <a:prstGeom prst="rect">
            <a:avLst/>
          </a:prstGeom>
        </p:spPr>
        <p:txBody>
          <a:bodyPr vert="horz" lIns="97539" tIns="48770" rIns="97539" bIns="48770" rtlCol="0" anchor="ctr"/>
          <a:lstStyle>
            <a:lvl1pPr algn="ctr">
              <a:defRPr sz="1000">
                <a:solidFill>
                  <a:schemeClr val="bg1">
                    <a:lumMod val="95000"/>
                  </a:schemeClr>
                </a:solidFill>
                <a:latin typeface="Segoe UI Light" panose="020B0502040204020203" pitchFamily="34" charset="0"/>
              </a:defRPr>
            </a:lvl1pPr>
          </a:lstStyle>
          <a:p>
            <a:r>
              <a:rPr lang="ru-RU" dirty="0">
                <a:latin typeface="IBM Plex Sans" panose="020B0503050203000203" pitchFamily="34" charset="0"/>
              </a:rPr>
              <a:t>Вопрос </a:t>
            </a:r>
            <a:fld id="{077C2315-DB11-48DC-8AB8-7DFFFA212395}" type="slidenum">
              <a:rPr lang="ru-RU" smtClean="0">
                <a:latin typeface="IBM Plex Sans" panose="020B0503050203000203" pitchFamily="34" charset="0"/>
              </a:rPr>
              <a:pPr/>
              <a:t>‹#›</a:t>
            </a:fld>
            <a:r>
              <a:rPr lang="ru-RU" dirty="0">
                <a:latin typeface="IBM Plex Sans" panose="020B0503050203000203" pitchFamily="34" charset="0"/>
              </a:rPr>
              <a:t> из 85</a:t>
            </a:r>
          </a:p>
        </p:txBody>
      </p:sp>
    </p:spTree>
    <p:extLst>
      <p:ext uri="{BB962C8B-B14F-4D97-AF65-F5344CB8AC3E}">
        <p14:creationId xmlns:p14="http://schemas.microsoft.com/office/powerpoint/2010/main" val="2097414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1"/>
            <a:ext cx="11522076" cy="6480174"/>
          </a:xfrm>
          <a:prstGeom prst="rect">
            <a:avLst/>
          </a:prstGeom>
          <a:blipFill dpi="0" rotWithShape="1">
            <a:blip r:embed="rId2">
              <a:alphaModFix amt="72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 t="1" r="-1246" b="-445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-1" y="0"/>
            <a:ext cx="11522076" cy="6480175"/>
          </a:xfrm>
          <a:prstGeom prst="rect">
            <a:avLst/>
          </a:prstGeom>
          <a:solidFill>
            <a:srgbClr val="009AD0">
              <a:alpha val="8666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416795" y="143743"/>
            <a:ext cx="2688484" cy="345009"/>
          </a:xfrm>
          <a:prstGeom prst="rect">
            <a:avLst/>
          </a:prstGeom>
        </p:spPr>
        <p:txBody>
          <a:bodyPr vert="horz" lIns="97539" tIns="48770" rIns="97539" bIns="48770" rtlCol="0" anchor="ctr"/>
          <a:lstStyle>
            <a:lvl1pPr algn="ctr">
              <a:defRPr sz="1000">
                <a:solidFill>
                  <a:schemeClr val="bg1">
                    <a:lumMod val="95000"/>
                  </a:schemeClr>
                </a:solidFill>
                <a:latin typeface="Segoe UI Light" panose="020B0502040204020203" pitchFamily="34" charset="0"/>
              </a:defRPr>
            </a:lvl1pPr>
          </a:lstStyle>
          <a:p>
            <a:r>
              <a:rPr lang="ru-RU" dirty="0">
                <a:latin typeface="IBM Plex Sans" panose="020B0503050203000203" pitchFamily="34" charset="0"/>
              </a:rPr>
              <a:t>Вопрос </a:t>
            </a:r>
            <a:fld id="{077C2315-DB11-48DC-8AB8-7DFFFA212395}" type="slidenum">
              <a:rPr lang="ru-RU" smtClean="0">
                <a:latin typeface="IBM Plex Sans" panose="020B0503050203000203" pitchFamily="34" charset="0"/>
              </a:rPr>
              <a:pPr/>
              <a:t>‹#›</a:t>
            </a:fld>
            <a:r>
              <a:rPr lang="ru-RU" dirty="0">
                <a:latin typeface="IBM Plex Sans" panose="020B0503050203000203" pitchFamily="34" charset="0"/>
              </a:rPr>
              <a:t> из 85</a:t>
            </a:r>
          </a:p>
        </p:txBody>
      </p:sp>
    </p:spTree>
    <p:extLst>
      <p:ext uri="{BB962C8B-B14F-4D97-AF65-F5344CB8AC3E}">
        <p14:creationId xmlns:p14="http://schemas.microsoft.com/office/powerpoint/2010/main" val="32528310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ОРГСТРУКТУРА ВПЕРЕ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hlinkClick r:id="" action="ppaction://hlinkshowjump?jump=firstslide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7" name="Прямоугольник с двумя скругленными соседними углами 6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8" name="Скругленный прямоугольник 7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0" name="Прямая соединительная линия 9">
              <a:hlinkClick r:id="" action="ppaction://hlinkshowjump?jump=firstslide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hlinkClick r:id="" action="ppaction://hlinkshowjump?jump=firstslide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Скругленный прямоугольник 11"/>
          <p:cNvSpPr/>
          <p:nvPr userDrawn="1"/>
        </p:nvSpPr>
        <p:spPr>
          <a:xfrm>
            <a:off x="3642894" y="313515"/>
            <a:ext cx="1876020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r>
              <a:rPr lang="ru-RU" sz="13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кущая структура</a:t>
            </a:r>
            <a:endParaRPr lang="ru-RU" sz="1300" b="0" i="0" dirty="0">
              <a:solidFill>
                <a:schemeClr val="tx1">
                  <a:lumMod val="75000"/>
                  <a:lumOff val="2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3" name="Скругленный прямоугольник 12">
            <a:hlinkClick r:id="" action="ppaction://hlinkshowjump?jump=nextslide"/>
          </p:cNvPr>
          <p:cNvSpPr/>
          <p:nvPr userDrawn="1"/>
        </p:nvSpPr>
        <p:spPr>
          <a:xfrm>
            <a:off x="6009623" y="313515"/>
            <a:ext cx="2487717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r>
              <a:rPr lang="ru-RU" sz="1300" b="0" i="0" dirty="0">
                <a:solidFill>
                  <a:schemeClr val="tx2">
                    <a:lumMod val="60000"/>
                    <a:lumOff val="40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лагаемая структура</a:t>
            </a:r>
            <a:endParaRPr lang="ru-RU" sz="1300" b="0" i="0" dirty="0">
              <a:solidFill>
                <a:schemeClr val="tx2">
                  <a:lumMod val="60000"/>
                  <a:lumOff val="40000"/>
                </a:schemeClr>
              </a:solidFill>
              <a:latin typeface="IBM Plex Sans" panose="020B0503050203000203" pitchFamily="34" charset="0"/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515092" y="403115"/>
            <a:ext cx="494532" cy="242865"/>
            <a:chOff x="4748273" y="314995"/>
            <a:chExt cx="586390" cy="288032"/>
          </a:xfrm>
        </p:grpSpPr>
        <p:sp>
          <p:nvSpPr>
            <p:cNvPr id="15" name="Скругленный прямоугольник 14">
              <a:hlinkClick r:id="" action="ppaction://hlinkshowjump?jump=nextslide"/>
            </p:cNvPr>
            <p:cNvSpPr/>
            <p:nvPr userDrawn="1"/>
          </p:nvSpPr>
          <p:spPr>
            <a:xfrm>
              <a:off x="4748273" y="314995"/>
              <a:ext cx="586390" cy="28803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  <p:sp>
          <p:nvSpPr>
            <p:cNvPr id="16" name="Овал 15">
              <a:hlinkClick r:id="" action="ppaction://hlinkshowjump?jump=nextslide"/>
            </p:cNvPr>
            <p:cNvSpPr/>
            <p:nvPr userDrawn="1"/>
          </p:nvSpPr>
          <p:spPr>
            <a:xfrm>
              <a:off x="4776911" y="337448"/>
              <a:ext cx="243126" cy="24312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5400000" sx="85000" sy="85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72901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БАНКИ ДЛЯ КПЭ ВПЕРЕ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522075" cy="64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hlinkClick r:id="" action="ppaction://noaction"/>
          </p:cNvPr>
          <p:cNvSpPr/>
          <p:nvPr userDrawn="1"/>
        </p:nvSpPr>
        <p:spPr>
          <a:xfrm>
            <a:off x="1" y="0"/>
            <a:ext cx="11522075" cy="6480175"/>
          </a:xfrm>
          <a:prstGeom prst="rect">
            <a:avLst/>
          </a:prstGeom>
          <a:solidFill>
            <a:schemeClr val="tx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370087" y="156018"/>
            <a:ext cx="10781900" cy="6168140"/>
          </a:xfrm>
          <a:prstGeom prst="roundRect">
            <a:avLst>
              <a:gd name="adj" fmla="val 902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905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7" name="Прямоугольник с двумя скругленными соседними углами 6"/>
          <p:cNvSpPr/>
          <p:nvPr userDrawn="1"/>
        </p:nvSpPr>
        <p:spPr>
          <a:xfrm flipV="1">
            <a:off x="370087" y="853704"/>
            <a:ext cx="10781900" cy="329156"/>
          </a:xfrm>
          <a:prstGeom prst="round2SameRect">
            <a:avLst>
              <a:gd name="adj1" fmla="val 6786"/>
              <a:gd name="adj2" fmla="val 0"/>
            </a:avLst>
          </a:prstGeom>
          <a:gradFill flip="none" rotWithShape="1">
            <a:gsLst>
              <a:gs pos="0">
                <a:schemeClr val="tx1">
                  <a:lumMod val="95000"/>
                  <a:lumOff val="5000"/>
                  <a:alpha val="7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sp>
        <p:nvSpPr>
          <p:cNvPr id="8" name="Скругленный прямоугольник 7">
            <a:hlinkClick r:id="" action="ppaction://hlinkshowjump?jump=firstslide"/>
          </p:cNvPr>
          <p:cNvSpPr/>
          <p:nvPr userDrawn="1"/>
        </p:nvSpPr>
        <p:spPr>
          <a:xfrm>
            <a:off x="10855755" y="209649"/>
            <a:ext cx="246914" cy="24686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endParaRPr lang="ru-RU" b="0" i="0" dirty="0">
              <a:latin typeface="IBM Plex Sans" panose="020B0503050203000203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0919006" y="272890"/>
            <a:ext cx="120412" cy="120385"/>
            <a:chOff x="8233187" y="6228550"/>
            <a:chExt cx="57138" cy="57137"/>
          </a:xfrm>
        </p:grpSpPr>
        <p:cxnSp>
          <p:nvCxnSpPr>
            <p:cNvPr id="10" name="Прямая соединительная линия 9">
              <a:hlinkClick r:id="" action="ppaction://noaction"/>
            </p:cNvPr>
            <p:cNvCxnSpPr/>
            <p:nvPr userDrawn="1"/>
          </p:nvCxnSpPr>
          <p:spPr>
            <a:xfrm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hlinkClick r:id="" action="ppaction://noaction"/>
            </p:cNvPr>
            <p:cNvCxnSpPr/>
            <p:nvPr userDrawn="1"/>
          </p:nvCxnSpPr>
          <p:spPr>
            <a:xfrm flipV="1">
              <a:off x="8233187" y="6228550"/>
              <a:ext cx="57138" cy="57137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Скругленный прямоугольник 11"/>
          <p:cNvSpPr/>
          <p:nvPr userDrawn="1"/>
        </p:nvSpPr>
        <p:spPr>
          <a:xfrm>
            <a:off x="3642894" y="313515"/>
            <a:ext cx="1876020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r>
              <a:rPr lang="ru-RU" sz="13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кущая структура</a:t>
            </a:r>
            <a:endParaRPr lang="ru-RU" sz="1300" b="0" i="0" dirty="0">
              <a:solidFill>
                <a:schemeClr val="tx1">
                  <a:lumMod val="75000"/>
                  <a:lumOff val="2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3" name="Скругленный прямоугольник 12">
            <a:hlinkClick r:id="" action="ppaction://hlinkshowjump?jump=nextslide"/>
          </p:cNvPr>
          <p:cNvSpPr/>
          <p:nvPr userDrawn="1"/>
        </p:nvSpPr>
        <p:spPr>
          <a:xfrm>
            <a:off x="6009623" y="313515"/>
            <a:ext cx="2487717" cy="422064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  <a:effectLst>
            <a:innerShdw blurRad="139700" dist="25400" dir="54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507" tIns="52253" rIns="104507" bIns="52253" rtlCol="0" anchor="ctr"/>
          <a:lstStyle/>
          <a:p>
            <a:pPr algn="ctr"/>
            <a:r>
              <a:rPr lang="ru-RU" sz="1300" b="0" i="0" dirty="0">
                <a:solidFill>
                  <a:schemeClr val="tx2">
                    <a:lumMod val="60000"/>
                    <a:lumOff val="40000"/>
                  </a:schemeClr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лагаемая структура</a:t>
            </a:r>
            <a:endParaRPr lang="ru-RU" sz="1300" b="0" i="0" dirty="0">
              <a:solidFill>
                <a:schemeClr val="tx2">
                  <a:lumMod val="60000"/>
                  <a:lumOff val="40000"/>
                </a:schemeClr>
              </a:solidFill>
              <a:latin typeface="IBM Plex Sans" panose="020B0503050203000203" pitchFamily="34" charset="0"/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515092" y="403115"/>
            <a:ext cx="494532" cy="242865"/>
            <a:chOff x="4748273" y="314995"/>
            <a:chExt cx="586390" cy="288032"/>
          </a:xfrm>
        </p:grpSpPr>
        <p:sp>
          <p:nvSpPr>
            <p:cNvPr id="15" name="Скругленный прямоугольник 14">
              <a:hlinkClick r:id="" action="ppaction://hlinkshowjump?jump=nextslide"/>
            </p:cNvPr>
            <p:cNvSpPr/>
            <p:nvPr userDrawn="1"/>
          </p:nvSpPr>
          <p:spPr>
            <a:xfrm>
              <a:off x="4748273" y="314995"/>
              <a:ext cx="586390" cy="28803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  <p:sp>
          <p:nvSpPr>
            <p:cNvPr id="16" name="Овал 15">
              <a:hlinkClick r:id="" action="ppaction://hlinkshowjump?jump=nextslide"/>
            </p:cNvPr>
            <p:cNvSpPr/>
            <p:nvPr userDrawn="1"/>
          </p:nvSpPr>
          <p:spPr>
            <a:xfrm>
              <a:off x="4776911" y="337448"/>
              <a:ext cx="243126" cy="24312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5400000" sx="85000" sy="85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9399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416795" y="143743"/>
            <a:ext cx="2688484" cy="345009"/>
          </a:xfrm>
          <a:prstGeom prst="rect">
            <a:avLst/>
          </a:prstGeom>
        </p:spPr>
        <p:txBody>
          <a:bodyPr vert="horz" lIns="97539" tIns="48770" rIns="97539" bIns="48770" rtlCol="0" anchor="ctr"/>
          <a:lstStyle>
            <a:lvl1pPr algn="ctr">
              <a:defRPr sz="1000" b="0" i="0">
                <a:solidFill>
                  <a:schemeClr val="tx1">
                    <a:tint val="75000"/>
                  </a:schemeClr>
                </a:solidFill>
                <a:latin typeface="IBM Plex Sans" panose="020B0503050203000203" pitchFamily="34" charset="0"/>
              </a:defRPr>
            </a:lvl1pPr>
          </a:lstStyle>
          <a:p>
            <a:fld id="{077C2315-DB11-48DC-8AB8-7DFFFA21239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0954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2" r:id="rId3"/>
    <p:sldLayoutId id="2147483679" r:id="rId4"/>
    <p:sldLayoutId id="2147483655" r:id="rId5"/>
    <p:sldLayoutId id="2147483677" r:id="rId6"/>
    <p:sldLayoutId id="2147483678" r:id="rId7"/>
    <p:sldLayoutId id="2147483664" r:id="rId8"/>
    <p:sldLayoutId id="2147483675" r:id="rId9"/>
    <p:sldLayoutId id="2147483665" r:id="rId10"/>
    <p:sldLayoutId id="2147483676" r:id="rId11"/>
    <p:sldLayoutId id="2147483666" r:id="rId12"/>
    <p:sldLayoutId id="2147483674" r:id="rId13"/>
    <p:sldLayoutId id="2147483670" r:id="rId14"/>
    <p:sldLayoutId id="2147483672" r:id="rId15"/>
    <p:sldLayoutId id="2147483673" r:id="rId16"/>
    <p:sldLayoutId id="2147483667" r:id="rId17"/>
    <p:sldLayoutId id="2147483668" r:id="rId18"/>
    <p:sldLayoutId id="2147483669" r:id="rId19"/>
  </p:sldLayoutIdLst>
  <p:txStyles>
    <p:titleStyle>
      <a:lvl1pPr algn="ctr" defTabSz="975390" rtl="0" eaLnBrk="1" latinLnBrk="0" hangingPunct="1">
        <a:spcBef>
          <a:spcPct val="0"/>
        </a:spcBef>
        <a:buNone/>
        <a:defRPr sz="4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975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975390" rtl="0" eaLnBrk="1" latinLnBrk="0" hangingPunct="1">
        <a:spcBef>
          <a:spcPct val="20000"/>
        </a:spcBef>
        <a:buFont typeface="Arial" panose="020B0604020202020204" pitchFamily="34" charset="0"/>
        <a:buChar char="–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975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97539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975390" rtl="0" eaLnBrk="1" latinLnBrk="0" hangingPunct="1">
        <a:spcBef>
          <a:spcPct val="20000"/>
        </a:spcBef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975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975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975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975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753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9753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9753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9753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9753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9753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9753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9753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9753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microsoft.com/office/2007/relationships/hdphoto" Target="../media/hdphoto2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/>
        </p:nvSpPr>
        <p:spPr>
          <a:xfrm flipH="1">
            <a:off x="-5087" y="-6714"/>
            <a:ext cx="11532249" cy="6486889"/>
          </a:xfrm>
          <a:prstGeom prst="rect">
            <a:avLst/>
          </a:prstGeom>
          <a:blipFill dpi="0" rotWithShape="1">
            <a:blip r:embed="rId6">
              <a:alphaModFix amt="92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 l="-13000" r="-2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IBM Plex Sans" panose="020B050305020300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45163" y="-6714"/>
            <a:ext cx="11612400" cy="6530974"/>
          </a:xfrm>
          <a:prstGeom prst="rect">
            <a:avLst/>
          </a:prstGeom>
          <a:solidFill>
            <a:srgbClr val="836BA6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IBM Plex Sans" panose="020B0503050203000203" pitchFamily="34" charset="0"/>
            </a:endParaRPr>
          </a:p>
        </p:txBody>
      </p:sp>
      <p:grpSp>
        <p:nvGrpSpPr>
          <p:cNvPr id="6" name="Group 4"/>
          <p:cNvGrpSpPr>
            <a:grpSpLocks noChangeAspect="1"/>
          </p:cNvGrpSpPr>
          <p:nvPr/>
        </p:nvGrpSpPr>
        <p:grpSpPr bwMode="auto">
          <a:xfrm>
            <a:off x="1008063" y="359767"/>
            <a:ext cx="711482" cy="346824"/>
            <a:chOff x="3014" y="894"/>
            <a:chExt cx="1955" cy="953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3074" y="1520"/>
              <a:ext cx="1836" cy="262"/>
            </a:xfrm>
            <a:custGeom>
              <a:avLst/>
              <a:gdLst>
                <a:gd name="T0" fmla="*/ 281 w 3461"/>
                <a:gd name="T1" fmla="*/ 10 h 494"/>
                <a:gd name="T2" fmla="*/ 237 w 3461"/>
                <a:gd name="T3" fmla="*/ 40 h 494"/>
                <a:gd name="T4" fmla="*/ 253 w 3461"/>
                <a:gd name="T5" fmla="*/ 445 h 494"/>
                <a:gd name="T6" fmla="*/ 157 w 3461"/>
                <a:gd name="T7" fmla="*/ 485 h 494"/>
                <a:gd name="T8" fmla="*/ 450 w 3461"/>
                <a:gd name="T9" fmla="*/ 155 h 494"/>
                <a:gd name="T10" fmla="*/ 772 w 3461"/>
                <a:gd name="T11" fmla="*/ 56 h 494"/>
                <a:gd name="T12" fmla="*/ 555 w 3461"/>
                <a:gd name="T13" fmla="*/ 43 h 494"/>
                <a:gd name="T14" fmla="*/ 797 w 3461"/>
                <a:gd name="T15" fmla="*/ 333 h 494"/>
                <a:gd name="T16" fmla="*/ 688 w 3461"/>
                <a:gd name="T17" fmla="*/ 343 h 494"/>
                <a:gd name="T18" fmla="*/ 557 w 3461"/>
                <a:gd name="T19" fmla="*/ 325 h 494"/>
                <a:gd name="T20" fmla="*/ 863 w 3461"/>
                <a:gd name="T21" fmla="*/ 465 h 494"/>
                <a:gd name="T22" fmla="*/ 1019 w 3461"/>
                <a:gd name="T23" fmla="*/ 16 h 494"/>
                <a:gd name="T24" fmla="*/ 1115 w 3461"/>
                <a:gd name="T25" fmla="*/ 53 h 494"/>
                <a:gd name="T26" fmla="*/ 979 w 3461"/>
                <a:gd name="T27" fmla="*/ 213 h 494"/>
                <a:gd name="T28" fmla="*/ 1109 w 3461"/>
                <a:gd name="T29" fmla="*/ 249 h 494"/>
                <a:gd name="T30" fmla="*/ 987 w 3461"/>
                <a:gd name="T31" fmla="*/ 440 h 494"/>
                <a:gd name="T32" fmla="*/ 1191 w 3461"/>
                <a:gd name="T33" fmla="*/ 437 h 494"/>
                <a:gd name="T34" fmla="*/ 1261 w 3461"/>
                <a:gd name="T35" fmla="*/ 484 h 494"/>
                <a:gd name="T36" fmla="*/ 1272 w 3461"/>
                <a:gd name="T37" fmla="*/ 45 h 494"/>
                <a:gd name="T38" fmla="*/ 1571 w 3461"/>
                <a:gd name="T39" fmla="*/ 48 h 494"/>
                <a:gd name="T40" fmla="*/ 1378 w 3461"/>
                <a:gd name="T41" fmla="*/ 302 h 494"/>
                <a:gd name="T42" fmla="*/ 1261 w 3461"/>
                <a:gd name="T43" fmla="*/ 484 h 494"/>
                <a:gd name="T44" fmla="*/ 1384 w 3461"/>
                <a:gd name="T45" fmla="*/ 50 h 494"/>
                <a:gd name="T46" fmla="*/ 1408 w 3461"/>
                <a:gd name="T47" fmla="*/ 266 h 494"/>
                <a:gd name="T48" fmla="*/ 1671 w 3461"/>
                <a:gd name="T49" fmla="*/ 447 h 494"/>
                <a:gd name="T50" fmla="*/ 1649 w 3461"/>
                <a:gd name="T51" fmla="*/ 21 h 494"/>
                <a:gd name="T52" fmla="*/ 1981 w 3461"/>
                <a:gd name="T53" fmla="*/ 113 h 494"/>
                <a:gd name="T54" fmla="*/ 1777 w 3461"/>
                <a:gd name="T55" fmla="*/ 89 h 494"/>
                <a:gd name="T56" fmla="*/ 1895 w 3461"/>
                <a:gd name="T57" fmla="*/ 189 h 494"/>
                <a:gd name="T58" fmla="*/ 1657 w 3461"/>
                <a:gd name="T59" fmla="*/ 484 h 494"/>
                <a:gd name="T60" fmla="*/ 1772 w 3461"/>
                <a:gd name="T61" fmla="*/ 210 h 494"/>
                <a:gd name="T62" fmla="*/ 2044 w 3461"/>
                <a:gd name="T63" fmla="*/ 484 h 494"/>
                <a:gd name="T64" fmla="*/ 2193 w 3461"/>
                <a:gd name="T65" fmla="*/ 35 h 494"/>
                <a:gd name="T66" fmla="*/ 2352 w 3461"/>
                <a:gd name="T67" fmla="*/ 137 h 494"/>
                <a:gd name="T68" fmla="*/ 2359 w 3461"/>
                <a:gd name="T69" fmla="*/ 481 h 494"/>
                <a:gd name="T70" fmla="*/ 2157 w 3461"/>
                <a:gd name="T71" fmla="*/ 320 h 494"/>
                <a:gd name="T72" fmla="*/ 2044 w 3461"/>
                <a:gd name="T73" fmla="*/ 484 h 494"/>
                <a:gd name="T74" fmla="*/ 2171 w 3461"/>
                <a:gd name="T75" fmla="*/ 281 h 494"/>
                <a:gd name="T76" fmla="*/ 2524 w 3461"/>
                <a:gd name="T77" fmla="*/ 484 h 494"/>
                <a:gd name="T78" fmla="*/ 2528 w 3461"/>
                <a:gd name="T79" fmla="*/ 36 h 494"/>
                <a:gd name="T80" fmla="*/ 2644 w 3461"/>
                <a:gd name="T81" fmla="*/ 149 h 494"/>
                <a:gd name="T82" fmla="*/ 2820 w 3461"/>
                <a:gd name="T83" fmla="*/ 134 h 494"/>
                <a:gd name="T84" fmla="*/ 2944 w 3461"/>
                <a:gd name="T85" fmla="*/ 20 h 494"/>
                <a:gd name="T86" fmla="*/ 2941 w 3461"/>
                <a:gd name="T87" fmla="*/ 481 h 494"/>
                <a:gd name="T88" fmla="*/ 2820 w 3461"/>
                <a:gd name="T89" fmla="*/ 341 h 494"/>
                <a:gd name="T90" fmla="*/ 2644 w 3461"/>
                <a:gd name="T91" fmla="*/ 345 h 494"/>
                <a:gd name="T92" fmla="*/ 3038 w 3461"/>
                <a:gd name="T93" fmla="*/ 484 h 494"/>
                <a:gd name="T94" fmla="*/ 3047 w 3461"/>
                <a:gd name="T95" fmla="*/ 249 h 494"/>
                <a:gd name="T96" fmla="*/ 3102 w 3461"/>
                <a:gd name="T97" fmla="*/ 15 h 494"/>
                <a:gd name="T98" fmla="*/ 3157 w 3461"/>
                <a:gd name="T99" fmla="*/ 484 h 494"/>
                <a:gd name="T100" fmla="*/ 3167 w 3461"/>
                <a:gd name="T101" fmla="*/ 241 h 494"/>
                <a:gd name="T102" fmla="*/ 3370 w 3461"/>
                <a:gd name="T103" fmla="*/ 16 h 494"/>
                <a:gd name="T104" fmla="*/ 3239 w 3461"/>
                <a:gd name="T105" fmla="*/ 190 h 494"/>
                <a:gd name="T106" fmla="*/ 3386 w 3461"/>
                <a:gd name="T107" fmla="*/ 488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61" h="494">
                  <a:moveTo>
                    <a:pt x="157" y="485"/>
                  </a:moveTo>
                  <a:cubicBezTo>
                    <a:pt x="73" y="461"/>
                    <a:pt x="23" y="409"/>
                    <a:pt x="8" y="328"/>
                  </a:cubicBezTo>
                  <a:cubicBezTo>
                    <a:pt x="0" y="282"/>
                    <a:pt x="6" y="181"/>
                    <a:pt x="18" y="146"/>
                  </a:cubicBezTo>
                  <a:cubicBezTo>
                    <a:pt x="57" y="36"/>
                    <a:pt x="127" y="0"/>
                    <a:pt x="281" y="10"/>
                  </a:cubicBezTo>
                  <a:cubicBezTo>
                    <a:pt x="362" y="15"/>
                    <a:pt x="368" y="20"/>
                    <a:pt x="368" y="80"/>
                  </a:cubicBezTo>
                  <a:cubicBezTo>
                    <a:pt x="368" y="107"/>
                    <a:pt x="367" y="118"/>
                    <a:pt x="362" y="120"/>
                  </a:cubicBezTo>
                  <a:cubicBezTo>
                    <a:pt x="351" y="124"/>
                    <a:pt x="336" y="111"/>
                    <a:pt x="319" y="81"/>
                  </a:cubicBezTo>
                  <a:cubicBezTo>
                    <a:pt x="301" y="48"/>
                    <a:pt x="284" y="39"/>
                    <a:pt x="237" y="40"/>
                  </a:cubicBezTo>
                  <a:cubicBezTo>
                    <a:pt x="178" y="40"/>
                    <a:pt x="140" y="67"/>
                    <a:pt x="124" y="122"/>
                  </a:cubicBezTo>
                  <a:cubicBezTo>
                    <a:pt x="112" y="163"/>
                    <a:pt x="111" y="311"/>
                    <a:pt x="123" y="350"/>
                  </a:cubicBezTo>
                  <a:cubicBezTo>
                    <a:pt x="135" y="388"/>
                    <a:pt x="155" y="413"/>
                    <a:pt x="187" y="431"/>
                  </a:cubicBezTo>
                  <a:cubicBezTo>
                    <a:pt x="211" y="444"/>
                    <a:pt x="217" y="446"/>
                    <a:pt x="253" y="445"/>
                  </a:cubicBezTo>
                  <a:cubicBezTo>
                    <a:pt x="274" y="444"/>
                    <a:pt x="309" y="440"/>
                    <a:pt x="329" y="434"/>
                  </a:cubicBezTo>
                  <a:cubicBezTo>
                    <a:pt x="368" y="424"/>
                    <a:pt x="378" y="426"/>
                    <a:pt x="378" y="444"/>
                  </a:cubicBezTo>
                  <a:cubicBezTo>
                    <a:pt x="378" y="455"/>
                    <a:pt x="350" y="469"/>
                    <a:pt x="307" y="481"/>
                  </a:cubicBezTo>
                  <a:cubicBezTo>
                    <a:pt x="268" y="492"/>
                    <a:pt x="189" y="494"/>
                    <a:pt x="157" y="485"/>
                  </a:cubicBezTo>
                  <a:close/>
                  <a:moveTo>
                    <a:pt x="436" y="484"/>
                  </a:moveTo>
                  <a:cubicBezTo>
                    <a:pt x="420" y="481"/>
                    <a:pt x="419" y="479"/>
                    <a:pt x="434" y="465"/>
                  </a:cubicBezTo>
                  <a:cubicBezTo>
                    <a:pt x="446" y="455"/>
                    <a:pt x="446" y="451"/>
                    <a:pt x="450" y="361"/>
                  </a:cubicBezTo>
                  <a:cubicBezTo>
                    <a:pt x="452" y="310"/>
                    <a:pt x="452" y="217"/>
                    <a:pt x="450" y="155"/>
                  </a:cubicBezTo>
                  <a:cubicBezTo>
                    <a:pt x="447" y="38"/>
                    <a:pt x="446" y="36"/>
                    <a:pt x="426" y="28"/>
                  </a:cubicBezTo>
                  <a:cubicBezTo>
                    <a:pt x="404" y="20"/>
                    <a:pt x="451" y="17"/>
                    <a:pt x="600" y="16"/>
                  </a:cubicBezTo>
                  <a:lnTo>
                    <a:pt x="772" y="14"/>
                  </a:lnTo>
                  <a:lnTo>
                    <a:pt x="772" y="56"/>
                  </a:lnTo>
                  <a:cubicBezTo>
                    <a:pt x="772" y="123"/>
                    <a:pt x="763" y="131"/>
                    <a:pt x="737" y="86"/>
                  </a:cubicBezTo>
                  <a:cubicBezTo>
                    <a:pt x="729" y="71"/>
                    <a:pt x="717" y="56"/>
                    <a:pt x="711" y="53"/>
                  </a:cubicBezTo>
                  <a:cubicBezTo>
                    <a:pt x="705" y="50"/>
                    <a:pt x="670" y="47"/>
                    <a:pt x="628" y="45"/>
                  </a:cubicBezTo>
                  <a:lnTo>
                    <a:pt x="555" y="43"/>
                  </a:lnTo>
                  <a:lnTo>
                    <a:pt x="557" y="111"/>
                  </a:lnTo>
                  <a:lnTo>
                    <a:pt x="558" y="180"/>
                  </a:lnTo>
                  <a:lnTo>
                    <a:pt x="585" y="181"/>
                  </a:lnTo>
                  <a:cubicBezTo>
                    <a:pt x="745" y="188"/>
                    <a:pt x="797" y="226"/>
                    <a:pt x="797" y="333"/>
                  </a:cubicBezTo>
                  <a:cubicBezTo>
                    <a:pt x="797" y="398"/>
                    <a:pt x="767" y="448"/>
                    <a:pt x="715" y="471"/>
                  </a:cubicBezTo>
                  <a:cubicBezTo>
                    <a:pt x="686" y="483"/>
                    <a:pt x="491" y="492"/>
                    <a:pt x="436" y="484"/>
                  </a:cubicBezTo>
                  <a:close/>
                  <a:moveTo>
                    <a:pt x="653" y="440"/>
                  </a:moveTo>
                  <a:cubicBezTo>
                    <a:pt x="679" y="421"/>
                    <a:pt x="686" y="401"/>
                    <a:pt x="688" y="343"/>
                  </a:cubicBezTo>
                  <a:cubicBezTo>
                    <a:pt x="689" y="302"/>
                    <a:pt x="688" y="285"/>
                    <a:pt x="682" y="269"/>
                  </a:cubicBezTo>
                  <a:cubicBezTo>
                    <a:pt x="667" y="231"/>
                    <a:pt x="648" y="220"/>
                    <a:pt x="590" y="214"/>
                  </a:cubicBezTo>
                  <a:lnTo>
                    <a:pt x="554" y="210"/>
                  </a:lnTo>
                  <a:lnTo>
                    <a:pt x="557" y="325"/>
                  </a:lnTo>
                  <a:cubicBezTo>
                    <a:pt x="559" y="406"/>
                    <a:pt x="562" y="441"/>
                    <a:pt x="566" y="447"/>
                  </a:cubicBezTo>
                  <a:cubicBezTo>
                    <a:pt x="576" y="458"/>
                    <a:pt x="635" y="454"/>
                    <a:pt x="653" y="440"/>
                  </a:cubicBezTo>
                  <a:close/>
                  <a:moveTo>
                    <a:pt x="882" y="484"/>
                  </a:moveTo>
                  <a:cubicBezTo>
                    <a:pt x="855" y="482"/>
                    <a:pt x="851" y="477"/>
                    <a:pt x="863" y="465"/>
                  </a:cubicBezTo>
                  <a:cubicBezTo>
                    <a:pt x="873" y="455"/>
                    <a:pt x="878" y="322"/>
                    <a:pt x="874" y="168"/>
                  </a:cubicBezTo>
                  <a:cubicBezTo>
                    <a:pt x="871" y="60"/>
                    <a:pt x="870" y="42"/>
                    <a:pt x="863" y="34"/>
                  </a:cubicBezTo>
                  <a:cubicBezTo>
                    <a:pt x="858" y="29"/>
                    <a:pt x="856" y="23"/>
                    <a:pt x="858" y="21"/>
                  </a:cubicBezTo>
                  <a:cubicBezTo>
                    <a:pt x="860" y="19"/>
                    <a:pt x="932" y="17"/>
                    <a:pt x="1019" y="16"/>
                  </a:cubicBezTo>
                  <a:lnTo>
                    <a:pt x="1176" y="14"/>
                  </a:lnTo>
                  <a:lnTo>
                    <a:pt x="1176" y="53"/>
                  </a:lnTo>
                  <a:cubicBezTo>
                    <a:pt x="1176" y="121"/>
                    <a:pt x="1165" y="131"/>
                    <a:pt x="1140" y="85"/>
                  </a:cubicBezTo>
                  <a:cubicBezTo>
                    <a:pt x="1132" y="71"/>
                    <a:pt x="1121" y="57"/>
                    <a:pt x="1115" y="53"/>
                  </a:cubicBezTo>
                  <a:cubicBezTo>
                    <a:pt x="1109" y="50"/>
                    <a:pt x="1077" y="46"/>
                    <a:pt x="1042" y="45"/>
                  </a:cubicBezTo>
                  <a:lnTo>
                    <a:pt x="979" y="43"/>
                  </a:lnTo>
                  <a:lnTo>
                    <a:pt x="979" y="128"/>
                  </a:lnTo>
                  <a:lnTo>
                    <a:pt x="979" y="213"/>
                  </a:lnTo>
                  <a:lnTo>
                    <a:pt x="1034" y="209"/>
                  </a:lnTo>
                  <a:cubicBezTo>
                    <a:pt x="1129" y="203"/>
                    <a:pt x="1119" y="201"/>
                    <a:pt x="1121" y="228"/>
                  </a:cubicBezTo>
                  <a:lnTo>
                    <a:pt x="1122" y="252"/>
                  </a:lnTo>
                  <a:lnTo>
                    <a:pt x="1109" y="249"/>
                  </a:lnTo>
                  <a:cubicBezTo>
                    <a:pt x="1101" y="247"/>
                    <a:pt x="1068" y="245"/>
                    <a:pt x="1036" y="243"/>
                  </a:cubicBezTo>
                  <a:lnTo>
                    <a:pt x="977" y="240"/>
                  </a:lnTo>
                  <a:lnTo>
                    <a:pt x="981" y="336"/>
                  </a:lnTo>
                  <a:cubicBezTo>
                    <a:pt x="983" y="390"/>
                    <a:pt x="985" y="436"/>
                    <a:pt x="987" y="440"/>
                  </a:cubicBezTo>
                  <a:cubicBezTo>
                    <a:pt x="990" y="449"/>
                    <a:pt x="1060" y="455"/>
                    <a:pt x="1096" y="449"/>
                  </a:cubicBezTo>
                  <a:cubicBezTo>
                    <a:pt x="1128" y="444"/>
                    <a:pt x="1138" y="435"/>
                    <a:pt x="1151" y="401"/>
                  </a:cubicBezTo>
                  <a:cubicBezTo>
                    <a:pt x="1157" y="387"/>
                    <a:pt x="1166" y="374"/>
                    <a:pt x="1170" y="372"/>
                  </a:cubicBezTo>
                  <a:cubicBezTo>
                    <a:pt x="1185" y="366"/>
                    <a:pt x="1191" y="383"/>
                    <a:pt x="1191" y="437"/>
                  </a:cubicBezTo>
                  <a:lnTo>
                    <a:pt x="1191" y="488"/>
                  </a:lnTo>
                  <a:lnTo>
                    <a:pt x="1049" y="487"/>
                  </a:lnTo>
                  <a:cubicBezTo>
                    <a:pt x="971" y="486"/>
                    <a:pt x="896" y="485"/>
                    <a:pt x="882" y="484"/>
                  </a:cubicBezTo>
                  <a:close/>
                  <a:moveTo>
                    <a:pt x="1261" y="484"/>
                  </a:moveTo>
                  <a:cubicBezTo>
                    <a:pt x="1255" y="483"/>
                    <a:pt x="1250" y="481"/>
                    <a:pt x="1250" y="480"/>
                  </a:cubicBezTo>
                  <a:cubicBezTo>
                    <a:pt x="1250" y="478"/>
                    <a:pt x="1255" y="471"/>
                    <a:pt x="1261" y="462"/>
                  </a:cubicBezTo>
                  <a:cubicBezTo>
                    <a:pt x="1272" y="447"/>
                    <a:pt x="1272" y="447"/>
                    <a:pt x="1272" y="246"/>
                  </a:cubicBezTo>
                  <a:lnTo>
                    <a:pt x="1272" y="45"/>
                  </a:lnTo>
                  <a:lnTo>
                    <a:pt x="1261" y="33"/>
                  </a:lnTo>
                  <a:cubicBezTo>
                    <a:pt x="1255" y="27"/>
                    <a:pt x="1250" y="20"/>
                    <a:pt x="1250" y="18"/>
                  </a:cubicBezTo>
                  <a:cubicBezTo>
                    <a:pt x="1250" y="15"/>
                    <a:pt x="1308" y="15"/>
                    <a:pt x="1379" y="16"/>
                  </a:cubicBezTo>
                  <a:cubicBezTo>
                    <a:pt x="1521" y="19"/>
                    <a:pt x="1547" y="23"/>
                    <a:pt x="1571" y="48"/>
                  </a:cubicBezTo>
                  <a:cubicBezTo>
                    <a:pt x="1597" y="75"/>
                    <a:pt x="1608" y="124"/>
                    <a:pt x="1602" y="180"/>
                  </a:cubicBezTo>
                  <a:cubicBezTo>
                    <a:pt x="1594" y="254"/>
                    <a:pt x="1533" y="295"/>
                    <a:pt x="1433" y="295"/>
                  </a:cubicBezTo>
                  <a:cubicBezTo>
                    <a:pt x="1420" y="295"/>
                    <a:pt x="1402" y="297"/>
                    <a:pt x="1393" y="299"/>
                  </a:cubicBezTo>
                  <a:lnTo>
                    <a:pt x="1378" y="302"/>
                  </a:lnTo>
                  <a:lnTo>
                    <a:pt x="1378" y="375"/>
                  </a:lnTo>
                  <a:cubicBezTo>
                    <a:pt x="1378" y="446"/>
                    <a:pt x="1378" y="448"/>
                    <a:pt x="1391" y="463"/>
                  </a:cubicBezTo>
                  <a:cubicBezTo>
                    <a:pt x="1398" y="471"/>
                    <a:pt x="1402" y="480"/>
                    <a:pt x="1400" y="481"/>
                  </a:cubicBezTo>
                  <a:cubicBezTo>
                    <a:pt x="1396" y="485"/>
                    <a:pt x="1277" y="488"/>
                    <a:pt x="1261" y="484"/>
                  </a:cubicBezTo>
                  <a:close/>
                  <a:moveTo>
                    <a:pt x="1454" y="258"/>
                  </a:moveTo>
                  <a:cubicBezTo>
                    <a:pt x="1486" y="243"/>
                    <a:pt x="1506" y="179"/>
                    <a:pt x="1495" y="119"/>
                  </a:cubicBezTo>
                  <a:cubicBezTo>
                    <a:pt x="1486" y="63"/>
                    <a:pt x="1457" y="40"/>
                    <a:pt x="1407" y="47"/>
                  </a:cubicBezTo>
                  <a:lnTo>
                    <a:pt x="1384" y="50"/>
                  </a:lnTo>
                  <a:lnTo>
                    <a:pt x="1381" y="76"/>
                  </a:lnTo>
                  <a:cubicBezTo>
                    <a:pt x="1379" y="90"/>
                    <a:pt x="1378" y="138"/>
                    <a:pt x="1378" y="183"/>
                  </a:cubicBezTo>
                  <a:lnTo>
                    <a:pt x="1378" y="266"/>
                  </a:lnTo>
                  <a:lnTo>
                    <a:pt x="1408" y="266"/>
                  </a:lnTo>
                  <a:cubicBezTo>
                    <a:pt x="1425" y="266"/>
                    <a:pt x="1445" y="263"/>
                    <a:pt x="1454" y="258"/>
                  </a:cubicBezTo>
                  <a:close/>
                  <a:moveTo>
                    <a:pt x="1657" y="484"/>
                  </a:moveTo>
                  <a:cubicBezTo>
                    <a:pt x="1646" y="481"/>
                    <a:pt x="1646" y="473"/>
                    <a:pt x="1660" y="459"/>
                  </a:cubicBezTo>
                  <a:lnTo>
                    <a:pt x="1671" y="447"/>
                  </a:lnTo>
                  <a:lnTo>
                    <a:pt x="1671" y="249"/>
                  </a:lnTo>
                  <a:lnTo>
                    <a:pt x="1671" y="50"/>
                  </a:lnTo>
                  <a:lnTo>
                    <a:pt x="1660" y="38"/>
                  </a:lnTo>
                  <a:cubicBezTo>
                    <a:pt x="1654" y="32"/>
                    <a:pt x="1649" y="24"/>
                    <a:pt x="1649" y="21"/>
                  </a:cubicBezTo>
                  <a:cubicBezTo>
                    <a:pt x="1649" y="16"/>
                    <a:pt x="1692" y="15"/>
                    <a:pt x="1823" y="15"/>
                  </a:cubicBezTo>
                  <a:lnTo>
                    <a:pt x="1998" y="15"/>
                  </a:lnTo>
                  <a:lnTo>
                    <a:pt x="1998" y="46"/>
                  </a:lnTo>
                  <a:cubicBezTo>
                    <a:pt x="1998" y="97"/>
                    <a:pt x="1994" y="113"/>
                    <a:pt x="1981" y="113"/>
                  </a:cubicBezTo>
                  <a:cubicBezTo>
                    <a:pt x="1972" y="113"/>
                    <a:pt x="1968" y="109"/>
                    <a:pt x="1961" y="91"/>
                  </a:cubicBezTo>
                  <a:cubicBezTo>
                    <a:pt x="1947" y="53"/>
                    <a:pt x="1944" y="52"/>
                    <a:pt x="1855" y="50"/>
                  </a:cubicBezTo>
                  <a:lnTo>
                    <a:pt x="1777" y="48"/>
                  </a:lnTo>
                  <a:lnTo>
                    <a:pt x="1777" y="89"/>
                  </a:lnTo>
                  <a:cubicBezTo>
                    <a:pt x="1777" y="112"/>
                    <a:pt x="1775" y="142"/>
                    <a:pt x="1773" y="156"/>
                  </a:cubicBezTo>
                  <a:lnTo>
                    <a:pt x="1770" y="182"/>
                  </a:lnTo>
                  <a:lnTo>
                    <a:pt x="1814" y="182"/>
                  </a:lnTo>
                  <a:cubicBezTo>
                    <a:pt x="1838" y="183"/>
                    <a:pt x="1875" y="186"/>
                    <a:pt x="1895" y="189"/>
                  </a:cubicBezTo>
                  <a:cubicBezTo>
                    <a:pt x="1988" y="206"/>
                    <a:pt x="2015" y="238"/>
                    <a:pt x="2015" y="335"/>
                  </a:cubicBezTo>
                  <a:cubicBezTo>
                    <a:pt x="2015" y="377"/>
                    <a:pt x="2014" y="385"/>
                    <a:pt x="2001" y="410"/>
                  </a:cubicBezTo>
                  <a:cubicBezTo>
                    <a:pt x="1978" y="458"/>
                    <a:pt x="1942" y="475"/>
                    <a:pt x="1851" y="483"/>
                  </a:cubicBezTo>
                  <a:cubicBezTo>
                    <a:pt x="1794" y="487"/>
                    <a:pt x="1673" y="488"/>
                    <a:pt x="1657" y="484"/>
                  </a:cubicBezTo>
                  <a:close/>
                  <a:moveTo>
                    <a:pt x="1874" y="440"/>
                  </a:moveTo>
                  <a:cubicBezTo>
                    <a:pt x="1899" y="421"/>
                    <a:pt x="1907" y="401"/>
                    <a:pt x="1909" y="347"/>
                  </a:cubicBezTo>
                  <a:cubicBezTo>
                    <a:pt x="1912" y="249"/>
                    <a:pt x="1891" y="220"/>
                    <a:pt x="1811" y="213"/>
                  </a:cubicBezTo>
                  <a:lnTo>
                    <a:pt x="1772" y="210"/>
                  </a:lnTo>
                  <a:lnTo>
                    <a:pt x="1772" y="289"/>
                  </a:lnTo>
                  <a:cubicBezTo>
                    <a:pt x="1772" y="396"/>
                    <a:pt x="1777" y="437"/>
                    <a:pt x="1789" y="447"/>
                  </a:cubicBezTo>
                  <a:cubicBezTo>
                    <a:pt x="1803" y="457"/>
                    <a:pt x="1856" y="453"/>
                    <a:pt x="1874" y="440"/>
                  </a:cubicBezTo>
                  <a:close/>
                  <a:moveTo>
                    <a:pt x="2044" y="484"/>
                  </a:moveTo>
                  <a:cubicBezTo>
                    <a:pt x="2040" y="483"/>
                    <a:pt x="2038" y="480"/>
                    <a:pt x="2038" y="477"/>
                  </a:cubicBezTo>
                  <a:cubicBezTo>
                    <a:pt x="2038" y="474"/>
                    <a:pt x="2065" y="408"/>
                    <a:pt x="2097" y="331"/>
                  </a:cubicBezTo>
                  <a:cubicBezTo>
                    <a:pt x="2180" y="136"/>
                    <a:pt x="2205" y="73"/>
                    <a:pt x="2205" y="61"/>
                  </a:cubicBezTo>
                  <a:cubicBezTo>
                    <a:pt x="2205" y="55"/>
                    <a:pt x="2199" y="43"/>
                    <a:pt x="2193" y="35"/>
                  </a:cubicBezTo>
                  <a:cubicBezTo>
                    <a:pt x="2186" y="27"/>
                    <a:pt x="2180" y="19"/>
                    <a:pt x="2180" y="18"/>
                  </a:cubicBezTo>
                  <a:cubicBezTo>
                    <a:pt x="2180" y="16"/>
                    <a:pt x="2210" y="15"/>
                    <a:pt x="2246" y="15"/>
                  </a:cubicBezTo>
                  <a:lnTo>
                    <a:pt x="2311" y="15"/>
                  </a:lnTo>
                  <a:lnTo>
                    <a:pt x="2352" y="137"/>
                  </a:lnTo>
                  <a:cubicBezTo>
                    <a:pt x="2391" y="253"/>
                    <a:pt x="2450" y="418"/>
                    <a:pt x="2468" y="460"/>
                  </a:cubicBezTo>
                  <a:cubicBezTo>
                    <a:pt x="2473" y="472"/>
                    <a:pt x="2474" y="481"/>
                    <a:pt x="2472" y="484"/>
                  </a:cubicBezTo>
                  <a:cubicBezTo>
                    <a:pt x="2469" y="487"/>
                    <a:pt x="2444" y="487"/>
                    <a:pt x="2413" y="485"/>
                  </a:cubicBezTo>
                  <a:lnTo>
                    <a:pt x="2359" y="481"/>
                  </a:lnTo>
                  <a:lnTo>
                    <a:pt x="2335" y="401"/>
                  </a:lnTo>
                  <a:lnTo>
                    <a:pt x="2311" y="320"/>
                  </a:lnTo>
                  <a:lnTo>
                    <a:pt x="2234" y="320"/>
                  </a:lnTo>
                  <a:lnTo>
                    <a:pt x="2157" y="320"/>
                  </a:lnTo>
                  <a:lnTo>
                    <a:pt x="2142" y="378"/>
                  </a:lnTo>
                  <a:cubicBezTo>
                    <a:pt x="2133" y="410"/>
                    <a:pt x="2125" y="445"/>
                    <a:pt x="2123" y="457"/>
                  </a:cubicBezTo>
                  <a:cubicBezTo>
                    <a:pt x="2121" y="470"/>
                    <a:pt x="2117" y="480"/>
                    <a:pt x="2111" y="483"/>
                  </a:cubicBezTo>
                  <a:cubicBezTo>
                    <a:pt x="2102" y="488"/>
                    <a:pt x="2055" y="489"/>
                    <a:pt x="2044" y="484"/>
                  </a:cubicBezTo>
                  <a:close/>
                  <a:moveTo>
                    <a:pt x="2268" y="192"/>
                  </a:moveTo>
                  <a:cubicBezTo>
                    <a:pt x="2252" y="143"/>
                    <a:pt x="2237" y="103"/>
                    <a:pt x="2235" y="103"/>
                  </a:cubicBezTo>
                  <a:cubicBezTo>
                    <a:pt x="2233" y="103"/>
                    <a:pt x="2218" y="143"/>
                    <a:pt x="2201" y="192"/>
                  </a:cubicBezTo>
                  <a:lnTo>
                    <a:pt x="2171" y="281"/>
                  </a:lnTo>
                  <a:lnTo>
                    <a:pt x="2234" y="281"/>
                  </a:lnTo>
                  <a:lnTo>
                    <a:pt x="2298" y="281"/>
                  </a:lnTo>
                  <a:lnTo>
                    <a:pt x="2268" y="192"/>
                  </a:lnTo>
                  <a:close/>
                  <a:moveTo>
                    <a:pt x="2524" y="484"/>
                  </a:moveTo>
                  <a:cubicBezTo>
                    <a:pt x="2513" y="481"/>
                    <a:pt x="2513" y="478"/>
                    <a:pt x="2526" y="464"/>
                  </a:cubicBezTo>
                  <a:cubicBezTo>
                    <a:pt x="2537" y="452"/>
                    <a:pt x="2537" y="452"/>
                    <a:pt x="2539" y="251"/>
                  </a:cubicBezTo>
                  <a:lnTo>
                    <a:pt x="2540" y="50"/>
                  </a:lnTo>
                  <a:lnTo>
                    <a:pt x="2528" y="36"/>
                  </a:lnTo>
                  <a:cubicBezTo>
                    <a:pt x="2521" y="28"/>
                    <a:pt x="2517" y="20"/>
                    <a:pt x="2519" y="18"/>
                  </a:cubicBezTo>
                  <a:cubicBezTo>
                    <a:pt x="2520" y="16"/>
                    <a:pt x="2555" y="15"/>
                    <a:pt x="2595" y="15"/>
                  </a:cubicBezTo>
                  <a:cubicBezTo>
                    <a:pt x="2668" y="15"/>
                    <a:pt x="2679" y="18"/>
                    <a:pt x="2660" y="32"/>
                  </a:cubicBezTo>
                  <a:cubicBezTo>
                    <a:pt x="2649" y="40"/>
                    <a:pt x="2644" y="75"/>
                    <a:pt x="2644" y="149"/>
                  </a:cubicBezTo>
                  <a:lnTo>
                    <a:pt x="2643" y="212"/>
                  </a:lnTo>
                  <a:lnTo>
                    <a:pt x="2732" y="212"/>
                  </a:lnTo>
                  <a:lnTo>
                    <a:pt x="2821" y="212"/>
                  </a:lnTo>
                  <a:lnTo>
                    <a:pt x="2820" y="134"/>
                  </a:lnTo>
                  <a:cubicBezTo>
                    <a:pt x="2820" y="92"/>
                    <a:pt x="2819" y="52"/>
                    <a:pt x="2818" y="46"/>
                  </a:cubicBezTo>
                  <a:cubicBezTo>
                    <a:pt x="2816" y="40"/>
                    <a:pt x="2809" y="33"/>
                    <a:pt x="2802" y="30"/>
                  </a:cubicBezTo>
                  <a:cubicBezTo>
                    <a:pt x="2789" y="24"/>
                    <a:pt x="2789" y="23"/>
                    <a:pt x="2798" y="20"/>
                  </a:cubicBezTo>
                  <a:cubicBezTo>
                    <a:pt x="2812" y="14"/>
                    <a:pt x="2935" y="14"/>
                    <a:pt x="2944" y="20"/>
                  </a:cubicBezTo>
                  <a:cubicBezTo>
                    <a:pt x="2950" y="24"/>
                    <a:pt x="2950" y="25"/>
                    <a:pt x="2941" y="31"/>
                  </a:cubicBezTo>
                  <a:cubicBezTo>
                    <a:pt x="2932" y="38"/>
                    <a:pt x="2931" y="45"/>
                    <a:pt x="2931" y="248"/>
                  </a:cubicBezTo>
                  <a:cubicBezTo>
                    <a:pt x="2931" y="446"/>
                    <a:pt x="2932" y="458"/>
                    <a:pt x="2941" y="467"/>
                  </a:cubicBezTo>
                  <a:cubicBezTo>
                    <a:pt x="2950" y="477"/>
                    <a:pt x="2950" y="478"/>
                    <a:pt x="2941" y="481"/>
                  </a:cubicBezTo>
                  <a:cubicBezTo>
                    <a:pt x="2925" y="488"/>
                    <a:pt x="2802" y="486"/>
                    <a:pt x="2795" y="479"/>
                  </a:cubicBezTo>
                  <a:cubicBezTo>
                    <a:pt x="2791" y="474"/>
                    <a:pt x="2792" y="472"/>
                    <a:pt x="2802" y="468"/>
                  </a:cubicBezTo>
                  <a:cubicBezTo>
                    <a:pt x="2809" y="466"/>
                    <a:pt x="2816" y="459"/>
                    <a:pt x="2817" y="452"/>
                  </a:cubicBezTo>
                  <a:cubicBezTo>
                    <a:pt x="2819" y="446"/>
                    <a:pt x="2820" y="396"/>
                    <a:pt x="2820" y="341"/>
                  </a:cubicBezTo>
                  <a:lnTo>
                    <a:pt x="2821" y="241"/>
                  </a:lnTo>
                  <a:lnTo>
                    <a:pt x="2731" y="241"/>
                  </a:lnTo>
                  <a:lnTo>
                    <a:pt x="2642" y="241"/>
                  </a:lnTo>
                  <a:lnTo>
                    <a:pt x="2644" y="345"/>
                  </a:lnTo>
                  <a:cubicBezTo>
                    <a:pt x="2646" y="443"/>
                    <a:pt x="2647" y="449"/>
                    <a:pt x="2657" y="463"/>
                  </a:cubicBezTo>
                  <a:cubicBezTo>
                    <a:pt x="2664" y="472"/>
                    <a:pt x="2667" y="480"/>
                    <a:pt x="2665" y="482"/>
                  </a:cubicBezTo>
                  <a:cubicBezTo>
                    <a:pt x="2662" y="486"/>
                    <a:pt x="2536" y="488"/>
                    <a:pt x="2524" y="484"/>
                  </a:cubicBezTo>
                  <a:close/>
                  <a:moveTo>
                    <a:pt x="3038" y="484"/>
                  </a:moveTo>
                  <a:cubicBezTo>
                    <a:pt x="3030" y="483"/>
                    <a:pt x="3022" y="481"/>
                    <a:pt x="3022" y="479"/>
                  </a:cubicBezTo>
                  <a:cubicBezTo>
                    <a:pt x="3022" y="478"/>
                    <a:pt x="3028" y="470"/>
                    <a:pt x="3035" y="462"/>
                  </a:cubicBezTo>
                  <a:lnTo>
                    <a:pt x="3047" y="447"/>
                  </a:lnTo>
                  <a:lnTo>
                    <a:pt x="3047" y="249"/>
                  </a:lnTo>
                  <a:lnTo>
                    <a:pt x="3047" y="50"/>
                  </a:lnTo>
                  <a:lnTo>
                    <a:pt x="3035" y="36"/>
                  </a:lnTo>
                  <a:cubicBezTo>
                    <a:pt x="3028" y="28"/>
                    <a:pt x="3024" y="20"/>
                    <a:pt x="3026" y="18"/>
                  </a:cubicBezTo>
                  <a:cubicBezTo>
                    <a:pt x="3028" y="16"/>
                    <a:pt x="3062" y="15"/>
                    <a:pt x="3102" y="15"/>
                  </a:cubicBezTo>
                  <a:cubicBezTo>
                    <a:pt x="3176" y="15"/>
                    <a:pt x="3187" y="18"/>
                    <a:pt x="3166" y="32"/>
                  </a:cubicBezTo>
                  <a:cubicBezTo>
                    <a:pt x="3158" y="38"/>
                    <a:pt x="3158" y="54"/>
                    <a:pt x="3158" y="249"/>
                  </a:cubicBezTo>
                  <a:cubicBezTo>
                    <a:pt x="3158" y="444"/>
                    <a:pt x="3158" y="459"/>
                    <a:pt x="3166" y="464"/>
                  </a:cubicBezTo>
                  <a:cubicBezTo>
                    <a:pt x="3181" y="472"/>
                    <a:pt x="3176" y="481"/>
                    <a:pt x="3157" y="484"/>
                  </a:cubicBezTo>
                  <a:cubicBezTo>
                    <a:pt x="3137" y="488"/>
                    <a:pt x="3066" y="487"/>
                    <a:pt x="3038" y="484"/>
                  </a:cubicBezTo>
                  <a:close/>
                  <a:moveTo>
                    <a:pt x="3292" y="452"/>
                  </a:moveTo>
                  <a:cubicBezTo>
                    <a:pt x="3282" y="432"/>
                    <a:pt x="3250" y="379"/>
                    <a:pt x="3222" y="333"/>
                  </a:cubicBezTo>
                  <a:cubicBezTo>
                    <a:pt x="3194" y="287"/>
                    <a:pt x="3169" y="246"/>
                    <a:pt x="3167" y="241"/>
                  </a:cubicBezTo>
                  <a:cubicBezTo>
                    <a:pt x="3165" y="234"/>
                    <a:pt x="3179" y="211"/>
                    <a:pt x="3221" y="156"/>
                  </a:cubicBezTo>
                  <a:cubicBezTo>
                    <a:pt x="3252" y="115"/>
                    <a:pt x="3286" y="67"/>
                    <a:pt x="3297" y="49"/>
                  </a:cubicBezTo>
                  <a:lnTo>
                    <a:pt x="3316" y="17"/>
                  </a:lnTo>
                  <a:lnTo>
                    <a:pt x="3370" y="16"/>
                  </a:lnTo>
                  <a:lnTo>
                    <a:pt x="3424" y="15"/>
                  </a:lnTo>
                  <a:lnTo>
                    <a:pt x="3404" y="30"/>
                  </a:lnTo>
                  <a:cubicBezTo>
                    <a:pt x="3393" y="39"/>
                    <a:pt x="3352" y="78"/>
                    <a:pt x="3312" y="118"/>
                  </a:cubicBezTo>
                  <a:lnTo>
                    <a:pt x="3239" y="190"/>
                  </a:lnTo>
                  <a:lnTo>
                    <a:pt x="3291" y="264"/>
                  </a:lnTo>
                  <a:cubicBezTo>
                    <a:pt x="3348" y="343"/>
                    <a:pt x="3375" y="379"/>
                    <a:pt x="3427" y="441"/>
                  </a:cubicBezTo>
                  <a:cubicBezTo>
                    <a:pt x="3446" y="463"/>
                    <a:pt x="3461" y="483"/>
                    <a:pt x="3461" y="484"/>
                  </a:cubicBezTo>
                  <a:cubicBezTo>
                    <a:pt x="3461" y="486"/>
                    <a:pt x="3427" y="488"/>
                    <a:pt x="3386" y="488"/>
                  </a:cubicBezTo>
                  <a:lnTo>
                    <a:pt x="3310" y="488"/>
                  </a:lnTo>
                  <a:lnTo>
                    <a:pt x="3292" y="452"/>
                  </a:lnTo>
                  <a:close/>
                </a:path>
              </a:pathLst>
            </a:custGeom>
            <a:solidFill>
              <a:schemeClr val="bg1"/>
            </a:solidFill>
            <a:ln w="187325" cap="flat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IBM Plex Sans" panose="020B0503050203000203" pitchFamily="34" charset="0"/>
              </a:endParaRPr>
            </a:p>
          </p:txBody>
        </p:sp>
        <p:sp>
          <p:nvSpPr>
            <p:cNvPr id="8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3014" y="894"/>
              <a:ext cx="1955" cy="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IBM Plex Sans" panose="020B0503050203000203" pitchFamily="34" charset="0"/>
              </a:endParaRPr>
            </a:p>
          </p:txBody>
        </p:sp>
        <p:sp>
          <p:nvSpPr>
            <p:cNvPr id="9" name="Freeform 5"/>
            <p:cNvSpPr>
              <a:spLocks noEditPoints="1"/>
            </p:cNvSpPr>
            <p:nvPr userDrawn="1"/>
          </p:nvSpPr>
          <p:spPr bwMode="auto">
            <a:xfrm>
              <a:off x="3761" y="944"/>
              <a:ext cx="462" cy="451"/>
            </a:xfrm>
            <a:custGeom>
              <a:avLst/>
              <a:gdLst>
                <a:gd name="T0" fmla="*/ 331 w 869"/>
                <a:gd name="T1" fmla="*/ 833 h 849"/>
                <a:gd name="T2" fmla="*/ 19 w 869"/>
                <a:gd name="T3" fmla="*/ 520 h 849"/>
                <a:gd name="T4" fmla="*/ 8 w 869"/>
                <a:gd name="T5" fmla="*/ 387 h 849"/>
                <a:gd name="T6" fmla="*/ 221 w 869"/>
                <a:gd name="T7" fmla="*/ 507 h 849"/>
                <a:gd name="T8" fmla="*/ 267 w 869"/>
                <a:gd name="T9" fmla="*/ 531 h 849"/>
                <a:gd name="T10" fmla="*/ 545 w 869"/>
                <a:gd name="T11" fmla="*/ 373 h 849"/>
                <a:gd name="T12" fmla="*/ 819 w 869"/>
                <a:gd name="T13" fmla="*/ 215 h 849"/>
                <a:gd name="T14" fmla="*/ 851 w 869"/>
                <a:gd name="T15" fmla="*/ 299 h 849"/>
                <a:gd name="T16" fmla="*/ 859 w 869"/>
                <a:gd name="T17" fmla="*/ 493 h 849"/>
                <a:gd name="T18" fmla="*/ 521 w 869"/>
                <a:gd name="T19" fmla="*/ 838 h 849"/>
                <a:gd name="T20" fmla="*/ 331 w 869"/>
                <a:gd name="T21" fmla="*/ 833 h 849"/>
                <a:gd name="T22" fmla="*/ 253 w 869"/>
                <a:gd name="T23" fmla="*/ 472 h 849"/>
                <a:gd name="T24" fmla="*/ 15 w 869"/>
                <a:gd name="T25" fmla="*/ 335 h 849"/>
                <a:gd name="T26" fmla="*/ 25 w 869"/>
                <a:gd name="T27" fmla="*/ 289 h 849"/>
                <a:gd name="T28" fmla="*/ 147 w 869"/>
                <a:gd name="T29" fmla="*/ 355 h 849"/>
                <a:gd name="T30" fmla="*/ 267 w 869"/>
                <a:gd name="T31" fmla="*/ 422 h 849"/>
                <a:gd name="T32" fmla="*/ 422 w 869"/>
                <a:gd name="T33" fmla="*/ 335 h 849"/>
                <a:gd name="T34" fmla="*/ 766 w 869"/>
                <a:gd name="T35" fmla="*/ 141 h 849"/>
                <a:gd name="T36" fmla="*/ 792 w 869"/>
                <a:gd name="T37" fmla="*/ 173 h 849"/>
                <a:gd name="T38" fmla="*/ 761 w 869"/>
                <a:gd name="T39" fmla="*/ 196 h 849"/>
                <a:gd name="T40" fmla="*/ 512 w 869"/>
                <a:gd name="T41" fmla="*/ 340 h 849"/>
                <a:gd name="T42" fmla="*/ 253 w 869"/>
                <a:gd name="T43" fmla="*/ 472 h 849"/>
                <a:gd name="T44" fmla="*/ 183 w 869"/>
                <a:gd name="T45" fmla="*/ 324 h 849"/>
                <a:gd name="T46" fmla="*/ 43 w 869"/>
                <a:gd name="T47" fmla="*/ 235 h 849"/>
                <a:gd name="T48" fmla="*/ 64 w 869"/>
                <a:gd name="T49" fmla="*/ 200 h 849"/>
                <a:gd name="T50" fmla="*/ 162 w 869"/>
                <a:gd name="T51" fmla="*/ 255 h 849"/>
                <a:gd name="T52" fmla="*/ 262 w 869"/>
                <a:gd name="T53" fmla="*/ 311 h 849"/>
                <a:gd name="T54" fmla="*/ 563 w 869"/>
                <a:gd name="T55" fmla="*/ 145 h 849"/>
                <a:gd name="T56" fmla="*/ 694 w 869"/>
                <a:gd name="T57" fmla="*/ 69 h 849"/>
                <a:gd name="T58" fmla="*/ 733 w 869"/>
                <a:gd name="T59" fmla="*/ 103 h 849"/>
                <a:gd name="T60" fmla="*/ 275 w 869"/>
                <a:gd name="T61" fmla="*/ 367 h 849"/>
                <a:gd name="T62" fmla="*/ 183 w 869"/>
                <a:gd name="T63" fmla="*/ 324 h 849"/>
                <a:gd name="T64" fmla="*/ 247 w 869"/>
                <a:gd name="T65" fmla="*/ 252 h 849"/>
                <a:gd name="T66" fmla="*/ 158 w 869"/>
                <a:gd name="T67" fmla="*/ 200 h 849"/>
                <a:gd name="T68" fmla="*/ 107 w 869"/>
                <a:gd name="T69" fmla="*/ 132 h 849"/>
                <a:gd name="T70" fmla="*/ 116 w 869"/>
                <a:gd name="T71" fmla="*/ 120 h 849"/>
                <a:gd name="T72" fmla="*/ 190 w 869"/>
                <a:gd name="T73" fmla="*/ 162 h 849"/>
                <a:gd name="T74" fmla="*/ 267 w 869"/>
                <a:gd name="T75" fmla="*/ 205 h 849"/>
                <a:gd name="T76" fmla="*/ 423 w 869"/>
                <a:gd name="T77" fmla="*/ 117 h 849"/>
                <a:gd name="T78" fmla="*/ 627 w 869"/>
                <a:gd name="T79" fmla="*/ 24 h 849"/>
                <a:gd name="T80" fmla="*/ 649 w 869"/>
                <a:gd name="T81" fmla="*/ 37 h 849"/>
                <a:gd name="T82" fmla="*/ 631 w 869"/>
                <a:gd name="T83" fmla="*/ 51 h 849"/>
                <a:gd name="T84" fmla="*/ 270 w 869"/>
                <a:gd name="T85" fmla="*/ 262 h 849"/>
                <a:gd name="T86" fmla="*/ 247 w 869"/>
                <a:gd name="T87" fmla="*/ 252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69" h="849">
                  <a:moveTo>
                    <a:pt x="331" y="833"/>
                  </a:moveTo>
                  <a:cubicBezTo>
                    <a:pt x="178" y="793"/>
                    <a:pt x="58" y="673"/>
                    <a:pt x="19" y="520"/>
                  </a:cubicBezTo>
                  <a:cubicBezTo>
                    <a:pt x="7" y="471"/>
                    <a:pt x="0" y="387"/>
                    <a:pt x="8" y="387"/>
                  </a:cubicBezTo>
                  <a:cubicBezTo>
                    <a:pt x="13" y="387"/>
                    <a:pt x="118" y="446"/>
                    <a:pt x="221" y="507"/>
                  </a:cubicBezTo>
                  <a:cubicBezTo>
                    <a:pt x="244" y="520"/>
                    <a:pt x="265" y="531"/>
                    <a:pt x="267" y="531"/>
                  </a:cubicBezTo>
                  <a:cubicBezTo>
                    <a:pt x="270" y="531"/>
                    <a:pt x="395" y="460"/>
                    <a:pt x="545" y="373"/>
                  </a:cubicBezTo>
                  <a:cubicBezTo>
                    <a:pt x="695" y="286"/>
                    <a:pt x="819" y="215"/>
                    <a:pt x="819" y="215"/>
                  </a:cubicBezTo>
                  <a:cubicBezTo>
                    <a:pt x="823" y="215"/>
                    <a:pt x="843" y="266"/>
                    <a:pt x="851" y="299"/>
                  </a:cubicBezTo>
                  <a:cubicBezTo>
                    <a:pt x="865" y="351"/>
                    <a:pt x="869" y="443"/>
                    <a:pt x="859" y="493"/>
                  </a:cubicBezTo>
                  <a:cubicBezTo>
                    <a:pt x="827" y="665"/>
                    <a:pt x="692" y="802"/>
                    <a:pt x="521" y="838"/>
                  </a:cubicBezTo>
                  <a:cubicBezTo>
                    <a:pt x="470" y="849"/>
                    <a:pt x="384" y="847"/>
                    <a:pt x="331" y="833"/>
                  </a:cubicBezTo>
                  <a:close/>
                  <a:moveTo>
                    <a:pt x="253" y="472"/>
                  </a:moveTo>
                  <a:cubicBezTo>
                    <a:pt x="238" y="465"/>
                    <a:pt x="18" y="338"/>
                    <a:pt x="15" y="335"/>
                  </a:cubicBezTo>
                  <a:cubicBezTo>
                    <a:pt x="11" y="332"/>
                    <a:pt x="21" y="289"/>
                    <a:pt x="25" y="289"/>
                  </a:cubicBezTo>
                  <a:cubicBezTo>
                    <a:pt x="28" y="289"/>
                    <a:pt x="83" y="319"/>
                    <a:pt x="147" y="355"/>
                  </a:cubicBezTo>
                  <a:cubicBezTo>
                    <a:pt x="211" y="392"/>
                    <a:pt x="265" y="422"/>
                    <a:pt x="267" y="422"/>
                  </a:cubicBezTo>
                  <a:cubicBezTo>
                    <a:pt x="269" y="422"/>
                    <a:pt x="338" y="383"/>
                    <a:pt x="422" y="335"/>
                  </a:cubicBezTo>
                  <a:cubicBezTo>
                    <a:pt x="674" y="189"/>
                    <a:pt x="760" y="141"/>
                    <a:pt x="766" y="141"/>
                  </a:cubicBezTo>
                  <a:cubicBezTo>
                    <a:pt x="772" y="141"/>
                    <a:pt x="792" y="164"/>
                    <a:pt x="792" y="173"/>
                  </a:cubicBezTo>
                  <a:cubicBezTo>
                    <a:pt x="792" y="176"/>
                    <a:pt x="778" y="186"/>
                    <a:pt x="761" y="196"/>
                  </a:cubicBezTo>
                  <a:cubicBezTo>
                    <a:pt x="744" y="205"/>
                    <a:pt x="632" y="270"/>
                    <a:pt x="512" y="340"/>
                  </a:cubicBezTo>
                  <a:cubicBezTo>
                    <a:pt x="241" y="496"/>
                    <a:pt x="271" y="482"/>
                    <a:pt x="253" y="472"/>
                  </a:cubicBezTo>
                  <a:close/>
                  <a:moveTo>
                    <a:pt x="183" y="324"/>
                  </a:moveTo>
                  <a:cubicBezTo>
                    <a:pt x="59" y="253"/>
                    <a:pt x="43" y="243"/>
                    <a:pt x="43" y="235"/>
                  </a:cubicBezTo>
                  <a:cubicBezTo>
                    <a:pt x="43" y="227"/>
                    <a:pt x="59" y="200"/>
                    <a:pt x="64" y="200"/>
                  </a:cubicBezTo>
                  <a:cubicBezTo>
                    <a:pt x="66" y="200"/>
                    <a:pt x="110" y="225"/>
                    <a:pt x="162" y="255"/>
                  </a:cubicBezTo>
                  <a:cubicBezTo>
                    <a:pt x="213" y="285"/>
                    <a:pt x="259" y="310"/>
                    <a:pt x="262" y="311"/>
                  </a:cubicBezTo>
                  <a:cubicBezTo>
                    <a:pt x="268" y="314"/>
                    <a:pt x="307" y="293"/>
                    <a:pt x="563" y="145"/>
                  </a:cubicBezTo>
                  <a:cubicBezTo>
                    <a:pt x="633" y="104"/>
                    <a:pt x="692" y="70"/>
                    <a:pt x="694" y="69"/>
                  </a:cubicBezTo>
                  <a:cubicBezTo>
                    <a:pt x="699" y="66"/>
                    <a:pt x="736" y="100"/>
                    <a:pt x="733" y="103"/>
                  </a:cubicBezTo>
                  <a:cubicBezTo>
                    <a:pt x="731" y="105"/>
                    <a:pt x="296" y="356"/>
                    <a:pt x="275" y="367"/>
                  </a:cubicBezTo>
                  <a:cubicBezTo>
                    <a:pt x="268" y="371"/>
                    <a:pt x="247" y="361"/>
                    <a:pt x="183" y="324"/>
                  </a:cubicBezTo>
                  <a:close/>
                  <a:moveTo>
                    <a:pt x="247" y="252"/>
                  </a:moveTo>
                  <a:cubicBezTo>
                    <a:pt x="237" y="246"/>
                    <a:pt x="196" y="223"/>
                    <a:pt x="158" y="200"/>
                  </a:cubicBezTo>
                  <a:cubicBezTo>
                    <a:pt x="82" y="157"/>
                    <a:pt x="84" y="160"/>
                    <a:pt x="107" y="132"/>
                  </a:cubicBezTo>
                  <a:lnTo>
                    <a:pt x="116" y="120"/>
                  </a:lnTo>
                  <a:lnTo>
                    <a:pt x="190" y="162"/>
                  </a:lnTo>
                  <a:cubicBezTo>
                    <a:pt x="231" y="186"/>
                    <a:pt x="266" y="205"/>
                    <a:pt x="267" y="205"/>
                  </a:cubicBezTo>
                  <a:cubicBezTo>
                    <a:pt x="269" y="205"/>
                    <a:pt x="339" y="165"/>
                    <a:pt x="423" y="117"/>
                  </a:cubicBezTo>
                  <a:cubicBezTo>
                    <a:pt x="624" y="0"/>
                    <a:pt x="600" y="11"/>
                    <a:pt x="627" y="24"/>
                  </a:cubicBezTo>
                  <a:cubicBezTo>
                    <a:pt x="639" y="30"/>
                    <a:pt x="649" y="36"/>
                    <a:pt x="649" y="37"/>
                  </a:cubicBezTo>
                  <a:cubicBezTo>
                    <a:pt x="649" y="39"/>
                    <a:pt x="641" y="45"/>
                    <a:pt x="631" y="51"/>
                  </a:cubicBezTo>
                  <a:cubicBezTo>
                    <a:pt x="619" y="60"/>
                    <a:pt x="363" y="208"/>
                    <a:pt x="270" y="262"/>
                  </a:cubicBezTo>
                  <a:cubicBezTo>
                    <a:pt x="268" y="263"/>
                    <a:pt x="258" y="258"/>
                    <a:pt x="247" y="252"/>
                  </a:cubicBezTo>
                  <a:close/>
                </a:path>
              </a:pathLst>
            </a:custGeom>
            <a:solidFill>
              <a:schemeClr val="bg1"/>
            </a:solidFill>
            <a:ln w="187325" cap="flat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IBM Plex Sans" panose="020B0503050203000203" pitchFamily="34" charset="0"/>
              </a:endParaRPr>
            </a:p>
          </p:txBody>
        </p:sp>
      </p:grp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28BCBA35-9E7C-D94A-A376-0C156B4E2051}"/>
              </a:ext>
            </a:extLst>
          </p:cNvPr>
          <p:cNvSpPr/>
          <p:nvPr/>
        </p:nvSpPr>
        <p:spPr>
          <a:xfrm>
            <a:off x="930955" y="5760367"/>
            <a:ext cx="3814128" cy="438580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defTabSz="685783"/>
            <a:r>
              <a:rPr lang="ru-RU" sz="2400" dirty="0" smtClean="0">
                <a:solidFill>
                  <a:schemeClr val="bg1"/>
                </a:solidFill>
                <a:latin typeface="IBM Plex Sans Light" panose="020B0403050203000203" pitchFamily="34" charset="0"/>
              </a:rPr>
              <a:t>29</a:t>
            </a:r>
            <a:r>
              <a:rPr lang="en-US" sz="2400" dirty="0" smtClean="0">
                <a:solidFill>
                  <a:schemeClr val="bg1"/>
                </a:solidFill>
                <a:latin typeface="IBM Plex Sans Light" panose="020B0403050203000203" pitchFamily="34" charset="0"/>
              </a:rPr>
              <a:t>.11.</a:t>
            </a:r>
            <a:r>
              <a:rPr lang="ru-RU" sz="2400" dirty="0" smtClean="0">
                <a:solidFill>
                  <a:schemeClr val="bg1"/>
                </a:solidFill>
                <a:latin typeface="IBM Plex Sans Light" panose="020B0403050203000203" pitchFamily="34" charset="0"/>
              </a:rPr>
              <a:t>2018, Москва</a:t>
            </a:r>
            <a:endParaRPr lang="ru-RU" sz="2400" dirty="0">
              <a:solidFill>
                <a:schemeClr val="bg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C3A9262D-5AD7-D147-A9B6-2E8404D8BE8D}"/>
              </a:ext>
            </a:extLst>
          </p:cNvPr>
          <p:cNvSpPr/>
          <p:nvPr/>
        </p:nvSpPr>
        <p:spPr>
          <a:xfrm>
            <a:off x="864493" y="3384103"/>
            <a:ext cx="4564070" cy="20005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4000" dirty="0">
                <a:solidFill>
                  <a:schemeClr val="bg1"/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lang="ru-RU" sz="4000" dirty="0" smtClean="0">
                <a:solidFill>
                  <a:schemeClr val="bg1"/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ее последствия</a:t>
            </a:r>
          </a:p>
          <a:p>
            <a:pPr>
              <a:spcAft>
                <a:spcPts val="1200"/>
              </a:spcAft>
            </a:pPr>
            <a:endParaRPr lang="ru-RU" sz="4000" dirty="0" smtClean="0">
              <a:solidFill>
                <a:schemeClr val="bg1"/>
              </a:solidFill>
              <a:latin typeface="IBM Plex Sans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2400" dirty="0" smtClean="0">
                <a:solidFill>
                  <a:schemeClr val="bg1"/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мирных Андрей, ПАО Сбербанк</a:t>
            </a:r>
            <a:endParaRPr lang="en-US" sz="2400" dirty="0">
              <a:solidFill>
                <a:schemeClr val="bg1"/>
              </a:solidFill>
              <a:latin typeface="IBM Plex Sans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F6B5DD92-5737-0046-9AE8-8C79AA1BBD3D}"/>
              </a:ext>
            </a:extLst>
          </p:cNvPr>
          <p:cNvSpPr/>
          <p:nvPr/>
        </p:nvSpPr>
        <p:spPr>
          <a:xfrm>
            <a:off x="864493" y="1568222"/>
            <a:ext cx="95050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b="1" dirty="0" smtClean="0">
                <a:solidFill>
                  <a:schemeClr val="bg1"/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добросовестность </a:t>
            </a:r>
          </a:p>
          <a:p>
            <a:r>
              <a:rPr lang="ru-RU" sz="5400" b="1" dirty="0">
                <a:solidFill>
                  <a:schemeClr val="bg1"/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</a:t>
            </a:r>
            <a:r>
              <a:rPr lang="ru-RU" sz="5400" b="1" dirty="0" smtClean="0">
                <a:solidFill>
                  <a:schemeClr val="bg1"/>
                </a:solidFill>
                <a:latin typeface="IBM Plex Sans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банкротстве граждан</a:t>
            </a:r>
            <a:endParaRPr lang="ru-RU" sz="5400" b="1" dirty="0">
              <a:solidFill>
                <a:schemeClr val="bg1"/>
              </a:solidFill>
              <a:latin typeface="IBM Plex Sans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34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576461" y="935831"/>
            <a:ext cx="9289032" cy="1008112"/>
          </a:xfrm>
          <a:prstGeom prst="roundRect">
            <a:avLst>
              <a:gd name="adj" fmla="val 2831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r>
              <a:rPr lang="ru-RU" sz="4400" dirty="0" smtClean="0">
                <a:solidFill>
                  <a:srgbClr val="836BA0"/>
                </a:solidFill>
                <a:latin typeface="IBM Plex Sans Medium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явления недобросовестности:</a:t>
            </a:r>
            <a:endParaRPr lang="ru-RU" sz="4400" dirty="0">
              <a:solidFill>
                <a:srgbClr val="836BA0"/>
              </a:solidFill>
              <a:latin typeface="IBM Plex Sans Medium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4400" dirty="0">
              <a:solidFill>
                <a:srgbClr val="836BA0"/>
              </a:solidFill>
              <a:latin typeface="IBM Plex Sans Medium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добросовестность в деле о банкротстве</a:t>
            </a:r>
          </a:p>
          <a:p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ытовая недобросовестность</a:t>
            </a:r>
          </a:p>
          <a:p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Прямоугольник 2">
            <a:hlinkClick r:id="" action="ppaction://hlinkshowjump?jump=nextslide"/>
          </p:cNvPr>
          <p:cNvSpPr/>
          <p:nvPr/>
        </p:nvSpPr>
        <p:spPr>
          <a:xfrm>
            <a:off x="10801597" y="0"/>
            <a:ext cx="720478" cy="6552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1535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hlinkClick r:id="" action="ppaction://hlinkshowjump?jump=nextslide"/>
          </p:cNvPr>
          <p:cNvSpPr/>
          <p:nvPr/>
        </p:nvSpPr>
        <p:spPr>
          <a:xfrm>
            <a:off x="10801597" y="0"/>
            <a:ext cx="720478" cy="6552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IBM Plex Sans" panose="020B0503050203000203" pitchFamily="34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864492" y="719807"/>
            <a:ext cx="9695853" cy="1728192"/>
          </a:xfrm>
          <a:prstGeom prst="roundRect">
            <a:avLst>
              <a:gd name="adj" fmla="val 2831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lvl="0"/>
            <a:r>
              <a:rPr lang="ru-RU" sz="2800" b="1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Бытовая недобросовестность:</a:t>
            </a:r>
          </a:p>
          <a:p>
            <a:pPr lvl="0"/>
            <a:endParaRPr lang="ru-RU" sz="2800" b="1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r>
              <a:rPr lang="ru-RU" sz="2800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Сохранение прежнего уровня потребления</a:t>
            </a:r>
          </a:p>
          <a:p>
            <a:pPr lvl="0"/>
            <a:endParaRPr lang="ru-RU" sz="280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r>
              <a:rPr lang="ru-RU" sz="2800" dirty="0" err="1" smtClean="0">
                <a:solidFill>
                  <a:schemeClr val="tx1"/>
                </a:solidFill>
                <a:latin typeface="IBM Plex Sans" panose="020B0503050203000203" pitchFamily="34" charset="0"/>
              </a:rPr>
              <a:t>Нераспределяемые</a:t>
            </a:r>
            <a:r>
              <a:rPr lang="ru-RU" sz="2800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 доходы в натуральной форме (</a:t>
            </a:r>
            <a:r>
              <a:rPr lang="en-US" sz="2800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VIP-</a:t>
            </a:r>
            <a:r>
              <a:rPr lang="ru-RU" sz="2800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обслуживание)</a:t>
            </a:r>
          </a:p>
          <a:p>
            <a:pPr lvl="0"/>
            <a:endParaRPr lang="ru-RU" sz="280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r>
              <a:rPr lang="ru-RU" sz="2800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Оплата дорогостоящих услуг третьими лицами</a:t>
            </a:r>
          </a:p>
          <a:p>
            <a:pPr lvl="0"/>
            <a:endParaRPr lang="ru-RU" sz="280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r>
              <a:rPr lang="ru-RU" sz="2800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Неразумные затраты на ведение судебных дел</a:t>
            </a:r>
          </a:p>
          <a:p>
            <a:pPr lvl="0"/>
            <a:endParaRPr lang="ru-RU" sz="280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endParaRPr lang="ru-RU" sz="2800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9222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576461" y="935831"/>
            <a:ext cx="9289032" cy="1008112"/>
          </a:xfrm>
          <a:prstGeom prst="roundRect">
            <a:avLst>
              <a:gd name="adj" fmla="val 2831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r>
              <a:rPr lang="ru-RU" sz="4400" dirty="0" smtClean="0">
                <a:solidFill>
                  <a:srgbClr val="836BA0"/>
                </a:solidFill>
                <a:latin typeface="IBM Plex Sans Medium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ледствия недобросовестности:</a:t>
            </a:r>
            <a:endParaRPr lang="ru-RU" sz="4400" dirty="0">
              <a:solidFill>
                <a:srgbClr val="836BA0"/>
              </a:solidFill>
              <a:latin typeface="IBM Plex Sans Medium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4400" dirty="0">
              <a:solidFill>
                <a:srgbClr val="836BA0"/>
              </a:solidFill>
              <a:latin typeface="IBM Plex Sans Medium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каз в освобождении от долгов</a:t>
            </a:r>
          </a:p>
          <a:p>
            <a:pPr marL="571500" indent="-571500">
              <a:buFontTx/>
              <a:buChar char="-"/>
            </a:pPr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/косвенно/ субсидиарная ответственность</a:t>
            </a:r>
          </a:p>
          <a:p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/косвенно/ уголовно-правовой аспект</a:t>
            </a:r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Прямоугольник 2">
            <a:hlinkClick r:id="" action="ppaction://hlinkshowjump?jump=nextslide"/>
          </p:cNvPr>
          <p:cNvSpPr/>
          <p:nvPr/>
        </p:nvSpPr>
        <p:spPr>
          <a:xfrm>
            <a:off x="10801597" y="0"/>
            <a:ext cx="720478" cy="6552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7727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576461" y="935831"/>
            <a:ext cx="10225136" cy="1008112"/>
          </a:xfrm>
          <a:prstGeom prst="roundRect">
            <a:avLst>
              <a:gd name="adj" fmla="val 2831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r>
              <a:rPr lang="ru-RU" sz="4400" dirty="0" smtClean="0">
                <a:solidFill>
                  <a:srgbClr val="836BA0"/>
                </a:solidFill>
                <a:latin typeface="IBM Plex Sans Medium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ражданин не освобожден от долгов: что дальше?</a:t>
            </a:r>
            <a:endParaRPr lang="ru-RU" sz="4400" dirty="0">
              <a:solidFill>
                <a:srgbClr val="836BA0"/>
              </a:solidFill>
              <a:latin typeface="IBM Plex Sans Medium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4400" dirty="0">
              <a:solidFill>
                <a:srgbClr val="836BA0"/>
              </a:solidFill>
              <a:latin typeface="IBM Plex Sans Medium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блема получения исполнительного листа</a:t>
            </a:r>
          </a:p>
          <a:p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блема предъявления исполнительного листа</a:t>
            </a:r>
          </a:p>
          <a:p>
            <a:pPr marL="571500" indent="-571500">
              <a:buFontTx/>
              <a:buChar char="-"/>
            </a:pPr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блема статуса «</a:t>
            </a:r>
            <a:r>
              <a:rPr lang="ru-RU" sz="3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естрового</a:t>
            </a:r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» кредитора</a:t>
            </a:r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Прямоугольник 2">
            <a:hlinkClick r:id="" action="ppaction://hlinkshowjump?jump=nextslide"/>
          </p:cNvPr>
          <p:cNvSpPr/>
          <p:nvPr/>
        </p:nvSpPr>
        <p:spPr>
          <a:xfrm>
            <a:off x="10801597" y="0"/>
            <a:ext cx="720478" cy="6552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733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hlinkClick r:id="" action="ppaction://hlinkshowjump?jump=nextslide"/>
          </p:cNvPr>
          <p:cNvSpPr/>
          <p:nvPr/>
        </p:nvSpPr>
        <p:spPr>
          <a:xfrm>
            <a:off x="10801597" y="0"/>
            <a:ext cx="720478" cy="6552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IBM Plex Sans" panose="020B0503050203000203" pitchFamily="34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76461" y="719807"/>
            <a:ext cx="10585375" cy="1728192"/>
          </a:xfrm>
          <a:prstGeom prst="roundRect">
            <a:avLst>
              <a:gd name="adj" fmla="val 2831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lvl="0"/>
            <a:r>
              <a:rPr lang="ru-RU" sz="2800" b="1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Что делать кредитору?</a:t>
            </a:r>
          </a:p>
          <a:p>
            <a:pPr lvl="0"/>
            <a:endParaRPr lang="ru-RU" sz="2800" b="1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r>
              <a:rPr lang="ru-RU" sz="2800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Если уже был исполнительный лист: озаботиться расчетом долга</a:t>
            </a:r>
          </a:p>
          <a:p>
            <a:pPr lvl="0"/>
            <a:endParaRPr lang="ru-RU" sz="280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r>
              <a:rPr lang="ru-RU" sz="2800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Если нет: обратиться за исполнительным листом (вдруг повезёт)</a:t>
            </a:r>
          </a:p>
          <a:p>
            <a:pPr lvl="0"/>
            <a:endParaRPr lang="ru-RU" sz="280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r>
              <a:rPr lang="ru-RU" sz="2800" dirty="0" smtClean="0">
                <a:solidFill>
                  <a:schemeClr val="tx1"/>
                </a:solidFill>
                <a:latin typeface="IBM Plex Sans" panose="020B0503050203000203" pitchFamily="34" charset="0"/>
              </a:rPr>
              <a:t>Если отказывают в выдаче исполнительного листа?..</a:t>
            </a:r>
          </a:p>
          <a:p>
            <a:pPr lvl="0"/>
            <a:endParaRPr lang="ru-RU" sz="280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endParaRPr lang="ru-RU" sz="2800" dirty="0" smtClean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endParaRPr lang="ru-RU" sz="280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lvl="0"/>
            <a:endParaRPr lang="ru-RU" sz="2800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321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576461" y="935831"/>
            <a:ext cx="10297144" cy="1008112"/>
          </a:xfrm>
          <a:prstGeom prst="roundRect">
            <a:avLst>
              <a:gd name="adj" fmla="val 2831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r>
              <a:rPr lang="ru-RU" sz="4400" dirty="0" smtClean="0">
                <a:solidFill>
                  <a:srgbClr val="836BA0"/>
                </a:solidFill>
                <a:latin typeface="IBM Plex Sans Medium" panose="020B05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орные ограничения для должника:</a:t>
            </a:r>
            <a:endParaRPr lang="ru-RU" sz="4400" dirty="0">
              <a:solidFill>
                <a:srgbClr val="836BA0"/>
              </a:solidFill>
              <a:latin typeface="IBM Plex Sans Medium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4400" dirty="0">
              <a:solidFill>
                <a:srgbClr val="836BA0"/>
              </a:solidFill>
              <a:latin typeface="IBM Plex Sans Medium" panose="020B05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едение предпринимательской деятельности</a:t>
            </a:r>
          </a:p>
          <a:p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нятие  должностей</a:t>
            </a:r>
          </a:p>
          <a:p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BM Plex Sans Light" panose="020B040305020300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езд за границу</a:t>
            </a:r>
          </a:p>
          <a:p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3600" b="1" dirty="0">
              <a:solidFill>
                <a:schemeClr val="tx1">
                  <a:lumMod val="75000"/>
                  <a:lumOff val="25000"/>
                </a:schemeClr>
              </a:solidFill>
              <a:latin typeface="IBM Plex Sans Light" panose="020B040305020300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Прямоугольник 2">
            <a:hlinkClick r:id="" action="ppaction://hlinkshowjump?jump=nextslide"/>
          </p:cNvPr>
          <p:cNvSpPr/>
          <p:nvPr/>
        </p:nvSpPr>
        <p:spPr>
          <a:xfrm>
            <a:off x="10801597" y="0"/>
            <a:ext cx="720478" cy="6552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014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1315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Скругленный прямоугольник 1"/>
          <p:cNvSpPr/>
          <p:nvPr/>
        </p:nvSpPr>
        <p:spPr>
          <a:xfrm>
            <a:off x="849986" y="2664023"/>
            <a:ext cx="10419862" cy="1728192"/>
          </a:xfrm>
          <a:prstGeom prst="roundRect">
            <a:avLst>
              <a:gd name="adj" fmla="val 2831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/>
            <a:r>
              <a:rPr lang="ru-RU" sz="3600" dirty="0" smtClean="0">
                <a:latin typeface="IBM Plex Sans" panose="020B0503050203000203" pitchFamily="34" charset="0"/>
              </a:rPr>
              <a:t>Нужен ли вообще критерий добросовестности для освобождения от долгов?</a:t>
            </a:r>
            <a:endParaRPr lang="ru-RU" sz="3600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9" name="Прямоугольник 8">
            <a:hlinkClick r:id="" action="ppaction://hlinkshowjump?jump=nextslide"/>
          </p:cNvPr>
          <p:cNvSpPr/>
          <p:nvPr/>
        </p:nvSpPr>
        <p:spPr>
          <a:xfrm>
            <a:off x="10801597" y="0"/>
            <a:ext cx="720478" cy="6552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IBM Plex Sans" panose="020B0503050203000203" pitchFamily="34" charset="0"/>
            </a:endParaRPr>
          </a:p>
        </p:txBody>
      </p:sp>
      <p:sp>
        <p:nvSpPr>
          <p:cNvPr id="38" name="Овал 37"/>
          <p:cNvSpPr/>
          <p:nvPr/>
        </p:nvSpPr>
        <p:spPr>
          <a:xfrm>
            <a:off x="11053824" y="863823"/>
            <a:ext cx="216024" cy="21602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201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SCORM_RATE_SLIDES" val="0"/>
  <p:tag name="ISPRING_SCORM_PASSING_SCORE" val="0.000000"/>
  <p:tag name="ISPRING_ULTRA_SCORM_COURSE_ID" val="1A6EE2CA-7761-4FFF-998D-EA8B61A66137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ONLINEFOLDERID" val="0"/>
  <p:tag name="ISPRINGONLINEFOLDERPATH" val="Каталог"/>
  <p:tag name="ISPRINGCLOUDFOLDERID" val="0"/>
  <p:tag name="ISPRINGCLOUDFOLDERPATH" val="Каталог"/>
  <p:tag name="ISPRING_PRESENTATION_TITLE" val="21.08.2018 FINAL"/>
  <p:tag name="ISPRING_FIRST_PUBLISH" val="1"/>
  <p:tag name="ISPRING_OUTPUT_FOLDER" val="C:\Users\Smorygo-AD\Desktop\для стенда"/>
  <p:tag name="ISPRING_SCORM_RATE_QUIZZES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280</TotalTime>
  <Words>149</Words>
  <Application>Microsoft Office PowerPoint</Application>
  <PresentationFormat>Произвольный</PresentationFormat>
  <Paragraphs>52</Paragraphs>
  <Slides>8</Slides>
  <Notes>0</Notes>
  <HiddenSlides>0</HiddenSlides>
  <MMClips>0</MMClips>
  <ScaleCrop>false</ScaleCrop>
  <HeadingPairs>
    <vt:vector size="8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  <vt:variant>
        <vt:lpstr>Произвольные показы</vt:lpstr>
      </vt:variant>
      <vt:variant>
        <vt:i4>1</vt:i4>
      </vt:variant>
    </vt:vector>
  </HeadingPairs>
  <TitlesOfParts>
    <vt:vector size="11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извольный показ 1</vt:lpstr>
    </vt:vector>
  </TitlesOfParts>
  <Company>Сбербанк России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1.08.2018 FINAL</dc:title>
  <dc:creator>Сморыго Алексей Дмитриевич</dc:creator>
  <cp:lastModifiedBy>Антон Кондрашов</cp:lastModifiedBy>
  <cp:revision>282</cp:revision>
  <cp:lastPrinted>2018-11-19T16:42:23Z</cp:lastPrinted>
  <dcterms:created xsi:type="dcterms:W3CDTF">2018-08-01T06:46:15Z</dcterms:created>
  <dcterms:modified xsi:type="dcterms:W3CDTF">2018-12-03T08:32:24Z</dcterms:modified>
</cp:coreProperties>
</file>